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  <p:sldMasterId id="2147483727" r:id="rId5"/>
    <p:sldMasterId id="2147483740" r:id="rId6"/>
  </p:sldMasterIdLst>
  <p:notesMasterIdLst>
    <p:notesMasterId r:id="rId25"/>
  </p:notesMasterIdLst>
  <p:sldIdLst>
    <p:sldId id="256" r:id="rId7"/>
    <p:sldId id="731" r:id="rId8"/>
    <p:sldId id="2147475147" r:id="rId9"/>
    <p:sldId id="2147475159" r:id="rId10"/>
    <p:sldId id="2147475149" r:id="rId11"/>
    <p:sldId id="732" r:id="rId12"/>
    <p:sldId id="363" r:id="rId13"/>
    <p:sldId id="267" r:id="rId14"/>
    <p:sldId id="268" r:id="rId15"/>
    <p:sldId id="2147475160" r:id="rId16"/>
    <p:sldId id="2147475152" r:id="rId17"/>
    <p:sldId id="2147475163" r:id="rId18"/>
    <p:sldId id="2147475162" r:id="rId19"/>
    <p:sldId id="2147475164" r:id="rId20"/>
    <p:sldId id="2147475154" r:id="rId21"/>
    <p:sldId id="737" r:id="rId22"/>
    <p:sldId id="2147475141" r:id="rId23"/>
    <p:sldId id="273" r:id="rId24"/>
  </p:sldIdLst>
  <p:sldSz cx="24382413" cy="13716000"/>
  <p:notesSz cx="6858000" cy="9144000"/>
  <p:defaultTextStyle>
    <a:defPPr>
      <a:defRPr lang="nb-NO"/>
    </a:defPPr>
    <a:lvl1pPr marL="0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3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9D268D6-866E-4AD9-9A30-D993F080FF87}" v="186" dt="2024-05-06T17:38:00.91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702" autoAdjust="0"/>
    <p:restoredTop sz="86179" autoAdjust="0"/>
  </p:normalViewPr>
  <p:slideViewPr>
    <p:cSldViewPr snapToGrid="0" showGuides="1">
      <p:cViewPr varScale="1">
        <p:scale>
          <a:sx n="38" d="100"/>
          <a:sy n="38" d="100"/>
        </p:scale>
        <p:origin x="400" y="56"/>
      </p:cViewPr>
      <p:guideLst>
        <p:guide orient="horz" pos="4320"/>
        <p:guide pos="76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theme" Target="theme/theme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ve Martens" userId="6c0b9b62-4cda-42a0-9331-056c7cf64219" providerId="ADAL" clId="{49D268D6-866E-4AD9-9A30-D993F080FF87}"/>
    <pc:docChg chg="undo custSel addSld delSld modSld sldOrd delMainMaster">
      <pc:chgData name="Tove Martens" userId="6c0b9b62-4cda-42a0-9331-056c7cf64219" providerId="ADAL" clId="{49D268D6-866E-4AD9-9A30-D993F080FF87}" dt="2024-05-06T17:43:48.200" v="4392" actId="20577"/>
      <pc:docMkLst>
        <pc:docMk/>
      </pc:docMkLst>
      <pc:sldChg chg="addSp delSp modSp mod">
        <pc:chgData name="Tove Martens" userId="6c0b9b62-4cda-42a0-9331-056c7cf64219" providerId="ADAL" clId="{49D268D6-866E-4AD9-9A30-D993F080FF87}" dt="2024-05-06T14:19:09.551" v="3500" actId="403"/>
        <pc:sldMkLst>
          <pc:docMk/>
          <pc:sldMk cId="3201119548" sldId="256"/>
        </pc:sldMkLst>
        <pc:spChg chg="mod">
          <ac:chgData name="Tove Martens" userId="6c0b9b62-4cda-42a0-9331-056c7cf64219" providerId="ADAL" clId="{49D268D6-866E-4AD9-9A30-D993F080FF87}" dt="2024-05-06T13:21:25.825" v="1468" actId="20577"/>
          <ac:spMkLst>
            <pc:docMk/>
            <pc:sldMk cId="3201119548" sldId="256"/>
            <ac:spMk id="2" creationId="{C3C71114-2F54-4508-AA80-A30FB450FBEA}"/>
          </ac:spMkLst>
        </pc:spChg>
        <pc:spChg chg="add del mod">
          <ac:chgData name="Tove Martens" userId="6c0b9b62-4cda-42a0-9331-056c7cf64219" providerId="ADAL" clId="{49D268D6-866E-4AD9-9A30-D993F080FF87}" dt="2024-05-06T12:24:13.932" v="130" actId="26606"/>
          <ac:spMkLst>
            <pc:docMk/>
            <pc:sldMk cId="3201119548" sldId="256"/>
            <ac:spMk id="4" creationId="{DF8C65A5-A698-6012-6BBE-ED9546FBBE30}"/>
          </ac:spMkLst>
        </pc:spChg>
        <pc:spChg chg="mod">
          <ac:chgData name="Tove Martens" userId="6c0b9b62-4cda-42a0-9331-056c7cf64219" providerId="ADAL" clId="{49D268D6-866E-4AD9-9A30-D993F080FF87}" dt="2024-05-06T14:19:09.551" v="3500" actId="403"/>
          <ac:spMkLst>
            <pc:docMk/>
            <pc:sldMk cId="3201119548" sldId="256"/>
            <ac:spMk id="5" creationId="{86453C61-ED88-772E-6AA0-7403B6AC6A8D}"/>
          </ac:spMkLst>
        </pc:spChg>
        <pc:spChg chg="add del mod">
          <ac:chgData name="Tove Martens" userId="6c0b9b62-4cda-42a0-9331-056c7cf64219" providerId="ADAL" clId="{49D268D6-866E-4AD9-9A30-D993F080FF87}" dt="2024-05-06T12:24:13.932" v="130" actId="26606"/>
          <ac:spMkLst>
            <pc:docMk/>
            <pc:sldMk cId="3201119548" sldId="256"/>
            <ac:spMk id="8" creationId="{9D842512-66EB-E6BF-B7F5-AACA47FE8634}"/>
          </ac:spMkLst>
        </pc:spChg>
        <pc:spChg chg="del mod">
          <ac:chgData name="Tove Martens" userId="6c0b9b62-4cda-42a0-9331-056c7cf64219" providerId="ADAL" clId="{49D268D6-866E-4AD9-9A30-D993F080FF87}" dt="2024-05-06T12:23:55.463" v="127" actId="478"/>
          <ac:spMkLst>
            <pc:docMk/>
            <pc:sldMk cId="3201119548" sldId="256"/>
            <ac:spMk id="13" creationId="{39AAA39C-9342-30F1-5525-FFFA3BBDA430}"/>
          </ac:spMkLst>
        </pc:spChg>
        <pc:spChg chg="add mod">
          <ac:chgData name="Tove Martens" userId="6c0b9b62-4cda-42a0-9331-056c7cf64219" providerId="ADAL" clId="{49D268D6-866E-4AD9-9A30-D993F080FF87}" dt="2024-05-06T14:19:09.551" v="3500" actId="403"/>
          <ac:spMkLst>
            <pc:docMk/>
            <pc:sldMk cId="3201119548" sldId="256"/>
            <ac:spMk id="14" creationId="{45FC071D-B535-E863-8F06-AD0196AAD776}"/>
          </ac:spMkLst>
        </pc:spChg>
        <pc:picChg chg="add mod ord modCrop">
          <ac:chgData name="Tove Martens" userId="6c0b9b62-4cda-42a0-9331-056c7cf64219" providerId="ADAL" clId="{49D268D6-866E-4AD9-9A30-D993F080FF87}" dt="2024-05-06T12:24:32.144" v="148" actId="1038"/>
          <ac:picMkLst>
            <pc:docMk/>
            <pc:sldMk cId="3201119548" sldId="256"/>
            <ac:picMk id="9" creationId="{04ACADE0-3333-EDE6-8E94-160603936ABC}"/>
          </ac:picMkLst>
        </pc:picChg>
        <pc:picChg chg="del">
          <ac:chgData name="Tove Martens" userId="6c0b9b62-4cda-42a0-9331-056c7cf64219" providerId="ADAL" clId="{49D268D6-866E-4AD9-9A30-D993F080FF87}" dt="2024-05-06T12:24:05.861" v="128" actId="478"/>
          <ac:picMkLst>
            <pc:docMk/>
            <pc:sldMk cId="3201119548" sldId="256"/>
            <ac:picMk id="18" creationId="{0ED91BE0-3215-9BE7-50E0-E8147ACE2B0C}"/>
          </ac:picMkLst>
        </pc:picChg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4213433537" sldId="266"/>
        </pc:sldMkLst>
      </pc:sldChg>
      <pc:sldChg chg="del">
        <pc:chgData name="Tove Martens" userId="6c0b9b62-4cda-42a0-9331-056c7cf64219" providerId="ADAL" clId="{49D268D6-866E-4AD9-9A30-D993F080FF87}" dt="2024-05-06T14:14:46.336" v="3478" actId="2696"/>
        <pc:sldMkLst>
          <pc:docMk/>
          <pc:sldMk cId="1588617218" sldId="267"/>
        </pc:sldMkLst>
      </pc:sldChg>
      <pc:sldChg chg="add">
        <pc:chgData name="Tove Martens" userId="6c0b9b62-4cda-42a0-9331-056c7cf64219" providerId="ADAL" clId="{49D268D6-866E-4AD9-9A30-D993F080FF87}" dt="2024-05-06T14:14:53.674" v="3479"/>
        <pc:sldMkLst>
          <pc:docMk/>
          <pc:sldMk cId="1864708445" sldId="267"/>
        </pc:sldMkLst>
      </pc:sldChg>
      <pc:sldChg chg="add">
        <pc:chgData name="Tove Martens" userId="6c0b9b62-4cda-42a0-9331-056c7cf64219" providerId="ADAL" clId="{49D268D6-866E-4AD9-9A30-D993F080FF87}" dt="2024-05-06T14:14:53.674" v="3479"/>
        <pc:sldMkLst>
          <pc:docMk/>
          <pc:sldMk cId="791249181" sldId="268"/>
        </pc:sldMkLst>
      </pc:sldChg>
      <pc:sldChg chg="del">
        <pc:chgData name="Tove Martens" userId="6c0b9b62-4cda-42a0-9331-056c7cf64219" providerId="ADAL" clId="{49D268D6-866E-4AD9-9A30-D993F080FF87}" dt="2024-05-06T14:14:46.336" v="3478" actId="2696"/>
        <pc:sldMkLst>
          <pc:docMk/>
          <pc:sldMk cId="1150202702" sldId="268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2583224882" sldId="275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1550145060" sldId="280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441493365" sldId="298"/>
        </pc:sldMkLst>
      </pc:sldChg>
      <pc:sldChg chg="del">
        <pc:chgData name="Tove Martens" userId="6c0b9b62-4cda-42a0-9331-056c7cf64219" providerId="ADAL" clId="{49D268D6-866E-4AD9-9A30-D993F080FF87}" dt="2024-05-06T14:14:46.336" v="3478" actId="2696"/>
        <pc:sldMkLst>
          <pc:docMk/>
          <pc:sldMk cId="291008896" sldId="363"/>
        </pc:sldMkLst>
      </pc:sldChg>
      <pc:sldChg chg="modSp add mod">
        <pc:chgData name="Tove Martens" userId="6c0b9b62-4cda-42a0-9331-056c7cf64219" providerId="ADAL" clId="{49D268D6-866E-4AD9-9A30-D993F080FF87}" dt="2024-05-06T17:43:48.200" v="4392" actId="20577"/>
        <pc:sldMkLst>
          <pc:docMk/>
          <pc:sldMk cId="1841812128" sldId="363"/>
        </pc:sldMkLst>
        <pc:spChg chg="mod">
          <ac:chgData name="Tove Martens" userId="6c0b9b62-4cda-42a0-9331-056c7cf64219" providerId="ADAL" clId="{49D268D6-866E-4AD9-9A30-D993F080FF87}" dt="2024-05-06T17:43:48.200" v="4392" actId="20577"/>
          <ac:spMkLst>
            <pc:docMk/>
            <pc:sldMk cId="1841812128" sldId="363"/>
            <ac:spMk id="3" creationId="{953A0824-44A0-29A0-0EF7-0172E8360B6A}"/>
          </ac:spMkLst>
        </pc:spChg>
      </pc:sldChg>
      <pc:sldChg chg="del">
        <pc:chgData name="Tove Martens" userId="6c0b9b62-4cda-42a0-9331-056c7cf64219" providerId="ADAL" clId="{49D268D6-866E-4AD9-9A30-D993F080FF87}" dt="2024-05-06T14:15:51.166" v="3496" actId="47"/>
        <pc:sldMkLst>
          <pc:docMk/>
          <pc:sldMk cId="2815833726" sldId="538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449093560" sldId="658"/>
        </pc:sldMkLst>
      </pc:sldChg>
      <pc:sldChg chg="del">
        <pc:chgData name="Tove Martens" userId="6c0b9b62-4cda-42a0-9331-056c7cf64219" providerId="ADAL" clId="{49D268D6-866E-4AD9-9A30-D993F080FF87}" dt="2024-05-06T13:13:28.473" v="1372" actId="47"/>
        <pc:sldMkLst>
          <pc:docMk/>
          <pc:sldMk cId="1380891770" sldId="665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3930003114" sldId="699"/>
        </pc:sldMkLst>
      </pc:sldChg>
      <pc:sldChg chg="delSp modSp del mod ord">
        <pc:chgData name="Tove Martens" userId="6c0b9b62-4cda-42a0-9331-056c7cf64219" providerId="ADAL" clId="{49D268D6-866E-4AD9-9A30-D993F080FF87}" dt="2024-05-06T14:15:02.690" v="3481" actId="47"/>
        <pc:sldMkLst>
          <pc:docMk/>
          <pc:sldMk cId="2425397181" sldId="700"/>
        </pc:sldMkLst>
        <pc:spChg chg="del">
          <ac:chgData name="Tove Martens" userId="6c0b9b62-4cda-42a0-9331-056c7cf64219" providerId="ADAL" clId="{49D268D6-866E-4AD9-9A30-D993F080FF87}" dt="2024-05-06T13:39:51.310" v="1782" actId="21"/>
          <ac:spMkLst>
            <pc:docMk/>
            <pc:sldMk cId="2425397181" sldId="700"/>
            <ac:spMk id="195" creationId="{00000000-0000-0000-0000-000000000000}"/>
          </ac:spMkLst>
        </pc:spChg>
        <pc:spChg chg="del">
          <ac:chgData name="Tove Martens" userId="6c0b9b62-4cda-42a0-9331-056c7cf64219" providerId="ADAL" clId="{49D268D6-866E-4AD9-9A30-D993F080FF87}" dt="2024-05-06T13:37:25.138" v="1750" actId="478"/>
          <ac:spMkLst>
            <pc:docMk/>
            <pc:sldMk cId="2425397181" sldId="700"/>
            <ac:spMk id="196" creationId="{00000000-0000-0000-0000-000000000000}"/>
          </ac:spMkLst>
        </pc:spChg>
        <pc:spChg chg="mod">
          <ac:chgData name="Tove Martens" userId="6c0b9b62-4cda-42a0-9331-056c7cf64219" providerId="ADAL" clId="{49D268D6-866E-4AD9-9A30-D993F080FF87}" dt="2024-05-06T13:37:27.317" v="1751" actId="1076"/>
          <ac:spMkLst>
            <pc:docMk/>
            <pc:sldMk cId="2425397181" sldId="700"/>
            <ac:spMk id="197" creationId="{00000000-0000-0000-0000-000000000000}"/>
          </ac:spMkLst>
        </pc:spChg>
      </pc:sldChg>
      <pc:sldChg chg="modSp del mod">
        <pc:chgData name="Tove Martens" userId="6c0b9b62-4cda-42a0-9331-056c7cf64219" providerId="ADAL" clId="{49D268D6-866E-4AD9-9A30-D993F080FF87}" dt="2024-05-06T14:15:14.472" v="3482" actId="47"/>
        <pc:sldMkLst>
          <pc:docMk/>
          <pc:sldMk cId="2130145019" sldId="716"/>
        </pc:sldMkLst>
        <pc:spChg chg="mod">
          <ac:chgData name="Tove Martens" userId="6c0b9b62-4cda-42a0-9331-056c7cf64219" providerId="ADAL" clId="{49D268D6-866E-4AD9-9A30-D993F080FF87}" dt="2024-05-06T11:37:40.110" v="0" actId="27636"/>
          <ac:spMkLst>
            <pc:docMk/>
            <pc:sldMk cId="2130145019" sldId="716"/>
            <ac:spMk id="18" creationId="{C5AAAE02-E80B-2C5C-6E73-444C913EDA1C}"/>
          </ac:spMkLst>
        </pc:spChg>
      </pc:sldChg>
      <pc:sldChg chg="addSp delSp modSp del mod modTransition modClrScheme chgLayout modNotesTx">
        <pc:chgData name="Tove Martens" userId="6c0b9b62-4cda-42a0-9331-056c7cf64219" providerId="ADAL" clId="{49D268D6-866E-4AD9-9A30-D993F080FF87}" dt="2024-05-06T13:04:40.171" v="815" actId="47"/>
        <pc:sldMkLst>
          <pc:docMk/>
          <pc:sldMk cId="3787353931" sldId="725"/>
        </pc:sldMkLst>
        <pc:spChg chg="mod ord">
          <ac:chgData name="Tove Martens" userId="6c0b9b62-4cda-42a0-9331-056c7cf64219" providerId="ADAL" clId="{49D268D6-866E-4AD9-9A30-D993F080FF87}" dt="2024-05-06T13:01:56.629" v="743" actId="700"/>
          <ac:spMkLst>
            <pc:docMk/>
            <pc:sldMk cId="3787353931" sldId="725"/>
            <ac:spMk id="3" creationId="{D80EC7BF-52BC-D77F-2A01-0BE4C7F9765F}"/>
          </ac:spMkLst>
        </pc:spChg>
        <pc:spChg chg="add del mod">
          <ac:chgData name="Tove Martens" userId="6c0b9b62-4cda-42a0-9331-056c7cf64219" providerId="ADAL" clId="{49D268D6-866E-4AD9-9A30-D993F080FF87}" dt="2024-05-06T12:59:22.328" v="586" actId="26606"/>
          <ac:spMkLst>
            <pc:docMk/>
            <pc:sldMk cId="3787353931" sldId="725"/>
            <ac:spMk id="4" creationId="{87CAF60E-0CD5-D0B5-FB86-7D84E175D3AF}"/>
          </ac:spMkLst>
        </pc:spChg>
        <pc:spChg chg="add del">
          <ac:chgData name="Tove Martens" userId="6c0b9b62-4cda-42a0-9331-056c7cf64219" providerId="ADAL" clId="{49D268D6-866E-4AD9-9A30-D993F080FF87}" dt="2024-05-06T13:02:24.239" v="745" actId="22"/>
          <ac:spMkLst>
            <pc:docMk/>
            <pc:sldMk cId="3787353931" sldId="725"/>
            <ac:spMk id="5" creationId="{5371139E-48D0-7E7F-5E24-27BEB35A849C}"/>
          </ac:spMkLst>
        </pc:spChg>
        <pc:spChg chg="add del">
          <ac:chgData name="Tove Martens" userId="6c0b9b62-4cda-42a0-9331-056c7cf64219" providerId="ADAL" clId="{49D268D6-866E-4AD9-9A30-D993F080FF87}" dt="2024-05-06T12:59:17.525" v="581" actId="26606"/>
          <ac:spMkLst>
            <pc:docMk/>
            <pc:sldMk cId="3787353931" sldId="725"/>
            <ac:spMk id="10" creationId="{F0AE9937-0D93-ADA7-9A5C-248DEED9D5B1}"/>
          </ac:spMkLst>
        </pc:spChg>
        <pc:spChg chg="add del">
          <ac:chgData name="Tove Martens" userId="6c0b9b62-4cda-42a0-9331-056c7cf64219" providerId="ADAL" clId="{49D268D6-866E-4AD9-9A30-D993F080FF87}" dt="2024-05-06T12:59:22.297" v="585" actId="26606"/>
          <ac:spMkLst>
            <pc:docMk/>
            <pc:sldMk cId="3787353931" sldId="725"/>
            <ac:spMk id="11" creationId="{FE8F6664-2550-D40B-67D5-E8A5BC40D0D9}"/>
          </ac:spMkLst>
        </pc:spChg>
        <pc:spChg chg="add del">
          <ac:chgData name="Tove Martens" userId="6c0b9b62-4cda-42a0-9331-056c7cf64219" providerId="ADAL" clId="{49D268D6-866E-4AD9-9A30-D993F080FF87}" dt="2024-05-06T12:59:17.525" v="581" actId="26606"/>
          <ac:spMkLst>
            <pc:docMk/>
            <pc:sldMk cId="3787353931" sldId="725"/>
            <ac:spMk id="12" creationId="{B77BC989-7DB1-D4F7-18CB-93BD946A2E54}"/>
          </ac:spMkLst>
        </pc:spChg>
        <pc:spChg chg="add del">
          <ac:chgData name="Tove Martens" userId="6c0b9b62-4cda-42a0-9331-056c7cf64219" providerId="ADAL" clId="{49D268D6-866E-4AD9-9A30-D993F080FF87}" dt="2024-05-06T12:59:22.297" v="585" actId="26606"/>
          <ac:spMkLst>
            <pc:docMk/>
            <pc:sldMk cId="3787353931" sldId="725"/>
            <ac:spMk id="13" creationId="{10C2FD1F-8DE2-497E-3B45-32F9C9A03E7F}"/>
          </ac:spMkLst>
        </pc:spChg>
        <pc:spChg chg="add del mod">
          <ac:chgData name="Tove Martens" userId="6c0b9b62-4cda-42a0-9331-056c7cf64219" providerId="ADAL" clId="{49D268D6-866E-4AD9-9A30-D993F080FF87}" dt="2024-05-06T12:59:19.377" v="583" actId="26606"/>
          <ac:spMkLst>
            <pc:docMk/>
            <pc:sldMk cId="3787353931" sldId="725"/>
            <ac:spMk id="14" creationId="{BFA7249F-C291-67F7-DD24-D00D1DBABA93}"/>
          </ac:spMkLst>
        </pc:spChg>
        <pc:spChg chg="add del">
          <ac:chgData name="Tove Martens" userId="6c0b9b62-4cda-42a0-9331-056c7cf64219" providerId="ADAL" clId="{49D268D6-866E-4AD9-9A30-D993F080FF87}" dt="2024-05-06T12:59:22.297" v="585" actId="26606"/>
          <ac:spMkLst>
            <pc:docMk/>
            <pc:sldMk cId="3787353931" sldId="725"/>
            <ac:spMk id="17" creationId="{0838A75A-BCC2-2317-033F-621F9A6B2F2D}"/>
          </ac:spMkLst>
        </pc:spChg>
        <pc:spChg chg="add mod ord">
          <ac:chgData name="Tove Martens" userId="6c0b9b62-4cda-42a0-9331-056c7cf64219" providerId="ADAL" clId="{49D268D6-866E-4AD9-9A30-D993F080FF87}" dt="2024-05-06T13:01:56.629" v="743" actId="700"/>
          <ac:spMkLst>
            <pc:docMk/>
            <pc:sldMk cId="3787353931" sldId="725"/>
            <ac:spMk id="20" creationId="{24E6D9A2-ED11-7907-A343-A27574F2F1A7}"/>
          </ac:spMkLst>
        </pc:spChg>
        <pc:spChg chg="add del">
          <ac:chgData name="Tove Martens" userId="6c0b9b62-4cda-42a0-9331-056c7cf64219" providerId="ADAL" clId="{49D268D6-866E-4AD9-9A30-D993F080FF87}" dt="2024-05-06T13:01:56.629" v="743" actId="700"/>
          <ac:spMkLst>
            <pc:docMk/>
            <pc:sldMk cId="3787353931" sldId="725"/>
            <ac:spMk id="21" creationId="{FDF83F3A-AD2C-D5E9-37DB-A64BFF706081}"/>
          </ac:spMkLst>
        </pc:spChg>
        <pc:graphicFrameChg chg="add del">
          <ac:chgData name="Tove Martens" userId="6c0b9b62-4cda-42a0-9331-056c7cf64219" providerId="ADAL" clId="{49D268D6-866E-4AD9-9A30-D993F080FF87}" dt="2024-05-06T12:59:17.525" v="581" actId="26606"/>
          <ac:graphicFrameMkLst>
            <pc:docMk/>
            <pc:sldMk cId="3787353931" sldId="725"/>
            <ac:graphicFrameMk id="6" creationId="{EB7A6DA8-4F5B-84B0-48F1-11A80E243C0B}"/>
          </ac:graphicFrameMkLst>
        </pc:graphicFrameChg>
        <pc:graphicFrameChg chg="add del mod">
          <ac:chgData name="Tove Martens" userId="6c0b9b62-4cda-42a0-9331-056c7cf64219" providerId="ADAL" clId="{49D268D6-866E-4AD9-9A30-D993F080FF87}" dt="2024-05-06T12:59:19.377" v="583" actId="26606"/>
          <ac:graphicFrameMkLst>
            <pc:docMk/>
            <pc:sldMk cId="3787353931" sldId="725"/>
            <ac:graphicFrameMk id="15" creationId="{0D8B387D-2C99-BCE3-5971-E8B2F6BB7F46}"/>
          </ac:graphicFrameMkLst>
        </pc:graphicFrameChg>
        <pc:graphicFrameChg chg="add del">
          <ac:chgData name="Tove Martens" userId="6c0b9b62-4cda-42a0-9331-056c7cf64219" providerId="ADAL" clId="{49D268D6-866E-4AD9-9A30-D993F080FF87}" dt="2024-05-06T12:59:22.297" v="585" actId="26606"/>
          <ac:graphicFrameMkLst>
            <pc:docMk/>
            <pc:sldMk cId="3787353931" sldId="725"/>
            <ac:graphicFrameMk id="18" creationId="{E1290FC9-3857-4BF2-63B7-B452521E78C5}"/>
          </ac:graphicFrameMkLst>
        </pc:graphicFrameChg>
        <pc:graphicFrameChg chg="add mod ord">
          <ac:chgData name="Tove Martens" userId="6c0b9b62-4cda-42a0-9331-056c7cf64219" providerId="ADAL" clId="{49D268D6-866E-4AD9-9A30-D993F080FF87}" dt="2024-05-06T13:01:56.629" v="743" actId="700"/>
          <ac:graphicFrameMkLst>
            <pc:docMk/>
            <pc:sldMk cId="3787353931" sldId="725"/>
            <ac:graphicFrameMk id="22" creationId="{D3821050-3A8E-AB20-D0E7-61E5D0E19095}"/>
          </ac:graphicFrameMkLst>
        </pc:graphicFrameChg>
        <pc:picChg chg="add del">
          <ac:chgData name="Tove Martens" userId="6c0b9b62-4cda-42a0-9331-056c7cf64219" providerId="ADAL" clId="{49D268D6-866E-4AD9-9A30-D993F080FF87}" dt="2024-05-06T12:59:22.297" v="585" actId="26606"/>
          <ac:picMkLst>
            <pc:docMk/>
            <pc:sldMk cId="3787353931" sldId="725"/>
            <ac:picMk id="7" creationId="{2EB8EBB1-06CC-EA35-DC77-2846495534A9}"/>
          </ac:picMkLst>
        </pc:picChg>
      </pc:sldChg>
      <pc:sldChg chg="del">
        <pc:chgData name="Tove Martens" userId="6c0b9b62-4cda-42a0-9331-056c7cf64219" providerId="ADAL" clId="{49D268D6-866E-4AD9-9A30-D993F080FF87}" dt="2024-05-06T12:24:40.542" v="149" actId="47"/>
        <pc:sldMkLst>
          <pc:docMk/>
          <pc:sldMk cId="753057548" sldId="727"/>
        </pc:sldMkLst>
      </pc:sldChg>
      <pc:sldChg chg="modSp mod ord">
        <pc:chgData name="Tove Martens" userId="6c0b9b62-4cda-42a0-9331-056c7cf64219" providerId="ADAL" clId="{49D268D6-866E-4AD9-9A30-D993F080FF87}" dt="2024-05-06T13:16:37.534" v="1419"/>
        <pc:sldMkLst>
          <pc:docMk/>
          <pc:sldMk cId="2109646732" sldId="731"/>
        </pc:sldMkLst>
        <pc:spChg chg="mod">
          <ac:chgData name="Tove Martens" userId="6c0b9b62-4cda-42a0-9331-056c7cf64219" providerId="ADAL" clId="{49D268D6-866E-4AD9-9A30-D993F080FF87}" dt="2024-05-06T13:16:30.860" v="1417" actId="20577"/>
          <ac:spMkLst>
            <pc:docMk/>
            <pc:sldMk cId="2109646732" sldId="731"/>
            <ac:spMk id="3" creationId="{379D8D7D-DFCA-8580-420D-3EEF109013D5}"/>
          </ac:spMkLst>
        </pc:spChg>
      </pc:sldChg>
      <pc:sldChg chg="addSp modSp add mod">
        <pc:chgData name="Tove Martens" userId="6c0b9b62-4cda-42a0-9331-056c7cf64219" providerId="ADAL" clId="{49D268D6-866E-4AD9-9A30-D993F080FF87}" dt="2024-05-06T14:07:57.982" v="3335" actId="1036"/>
        <pc:sldMkLst>
          <pc:docMk/>
          <pc:sldMk cId="2979113690" sldId="732"/>
        </pc:sldMkLst>
        <pc:spChg chg="add mod">
          <ac:chgData name="Tove Martens" userId="6c0b9b62-4cda-42a0-9331-056c7cf64219" providerId="ADAL" clId="{49D268D6-866E-4AD9-9A30-D993F080FF87}" dt="2024-05-06T14:07:44.083" v="3315"/>
          <ac:spMkLst>
            <pc:docMk/>
            <pc:sldMk cId="2979113690" sldId="732"/>
            <ac:spMk id="2" creationId="{326674F4-7EE7-F507-3033-F44017AF8E62}"/>
          </ac:spMkLst>
        </pc:spChg>
        <pc:spChg chg="mod">
          <ac:chgData name="Tove Martens" userId="6c0b9b62-4cda-42a0-9331-056c7cf64219" providerId="ADAL" clId="{49D268D6-866E-4AD9-9A30-D993F080FF87}" dt="2024-05-06T14:07:57.982" v="3335" actId="1036"/>
          <ac:spMkLst>
            <pc:docMk/>
            <pc:sldMk cId="2979113690" sldId="732"/>
            <ac:spMk id="3" creationId="{DBE00BEC-BE71-2179-F2E7-D47BF096DC4A}"/>
          </ac:spMkLst>
        </pc:spChg>
        <pc:spChg chg="mod">
          <ac:chgData name="Tove Martens" userId="6c0b9b62-4cda-42a0-9331-056c7cf64219" providerId="ADAL" clId="{49D268D6-866E-4AD9-9A30-D993F080FF87}" dt="2024-05-06T14:07:57.982" v="3335" actId="1036"/>
          <ac:spMkLst>
            <pc:docMk/>
            <pc:sldMk cId="2979113690" sldId="732"/>
            <ac:spMk id="11" creationId="{33832CD4-B4FC-7E73-8AD1-14C462B6B8E1}"/>
          </ac:spMkLst>
        </pc:spChg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3839728626" sldId="736"/>
        </pc:sldMkLst>
      </pc:sldChg>
      <pc:sldChg chg="addSp delSp modSp mod ord">
        <pc:chgData name="Tove Martens" userId="6c0b9b62-4cda-42a0-9331-056c7cf64219" providerId="ADAL" clId="{49D268D6-866E-4AD9-9A30-D993F080FF87}" dt="2024-05-06T14:10:55.966" v="3396" actId="6549"/>
        <pc:sldMkLst>
          <pc:docMk/>
          <pc:sldMk cId="2059583169" sldId="737"/>
        </pc:sldMkLst>
        <pc:spChg chg="mod">
          <ac:chgData name="Tove Martens" userId="6c0b9b62-4cda-42a0-9331-056c7cf64219" providerId="ADAL" clId="{49D268D6-866E-4AD9-9A30-D993F080FF87}" dt="2024-05-06T14:10:55.966" v="3396" actId="6549"/>
          <ac:spMkLst>
            <pc:docMk/>
            <pc:sldMk cId="2059583169" sldId="737"/>
            <ac:spMk id="2" creationId="{824AFAAC-1F53-80AA-7BD0-C2CE78F5400B}"/>
          </ac:spMkLst>
        </pc:spChg>
        <pc:spChg chg="add mod">
          <ac:chgData name="Tove Martens" userId="6c0b9b62-4cda-42a0-9331-056c7cf64219" providerId="ADAL" clId="{49D268D6-866E-4AD9-9A30-D993F080FF87}" dt="2024-05-06T13:43:37.999" v="1858" actId="114"/>
          <ac:spMkLst>
            <pc:docMk/>
            <pc:sldMk cId="2059583169" sldId="737"/>
            <ac:spMk id="195" creationId="{00000000-0000-0000-0000-000000000000}"/>
          </ac:spMkLst>
        </pc:spChg>
        <pc:graphicFrameChg chg="del">
          <ac:chgData name="Tove Martens" userId="6c0b9b62-4cda-42a0-9331-056c7cf64219" providerId="ADAL" clId="{49D268D6-866E-4AD9-9A30-D993F080FF87}" dt="2024-05-06T13:39:24.892" v="1779" actId="478"/>
          <ac:graphicFrameMkLst>
            <pc:docMk/>
            <pc:sldMk cId="2059583169" sldId="737"/>
            <ac:graphicFrameMk id="7" creationId="{DA8239E1-34DD-2106-1F74-6BED1D61097C}"/>
          </ac:graphicFrameMkLst>
        </pc:graphicFrameChg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3320975601" sldId="739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2201268593" sldId="740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2607607908" sldId="741"/>
        </pc:sldMkLst>
      </pc:sldChg>
      <pc:sldChg chg="del">
        <pc:chgData name="Tove Martens" userId="6c0b9b62-4cda-42a0-9331-056c7cf64219" providerId="ADAL" clId="{49D268D6-866E-4AD9-9A30-D993F080FF87}" dt="2024-05-06T14:15:48.028" v="3495" actId="47"/>
        <pc:sldMkLst>
          <pc:docMk/>
          <pc:sldMk cId="2386469081" sldId="743"/>
        </pc:sldMkLst>
      </pc:sldChg>
      <pc:sldChg chg="del">
        <pc:chgData name="Tove Martens" userId="6c0b9b62-4cda-42a0-9331-056c7cf64219" providerId="ADAL" clId="{49D268D6-866E-4AD9-9A30-D993F080FF87}" dt="2024-05-06T14:15:26.691" v="3486" actId="47"/>
        <pc:sldMkLst>
          <pc:docMk/>
          <pc:sldMk cId="1926494728" sldId="744"/>
        </pc:sldMkLst>
      </pc:sldChg>
      <pc:sldChg chg="del">
        <pc:chgData name="Tove Martens" userId="6c0b9b62-4cda-42a0-9331-056c7cf64219" providerId="ADAL" clId="{49D268D6-866E-4AD9-9A30-D993F080FF87}" dt="2024-05-06T14:15:31.903" v="3487" actId="47"/>
        <pc:sldMkLst>
          <pc:docMk/>
          <pc:sldMk cId="2108344064" sldId="2147377559"/>
        </pc:sldMkLst>
      </pc:sldChg>
      <pc:sldChg chg="del">
        <pc:chgData name="Tove Martens" userId="6c0b9b62-4cda-42a0-9331-056c7cf64219" providerId="ADAL" clId="{49D268D6-866E-4AD9-9A30-D993F080FF87}" dt="2024-05-06T14:15:59.799" v="3497" actId="47"/>
        <pc:sldMkLst>
          <pc:docMk/>
          <pc:sldMk cId="2126794671" sldId="2147377561"/>
        </pc:sldMkLst>
      </pc:sldChg>
      <pc:sldChg chg="del ord">
        <pc:chgData name="Tove Martens" userId="6c0b9b62-4cda-42a0-9331-056c7cf64219" providerId="ADAL" clId="{49D268D6-866E-4AD9-9A30-D993F080FF87}" dt="2024-05-06T14:15:25.026" v="3485" actId="47"/>
        <pc:sldMkLst>
          <pc:docMk/>
          <pc:sldMk cId="2576540992" sldId="2147377565"/>
        </pc:sldMkLst>
      </pc:sldChg>
      <pc:sldChg chg="del">
        <pc:chgData name="Tove Martens" userId="6c0b9b62-4cda-42a0-9331-056c7cf64219" providerId="ADAL" clId="{49D268D6-866E-4AD9-9A30-D993F080FF87}" dt="2024-05-06T14:15:44.585" v="3492" actId="47"/>
        <pc:sldMkLst>
          <pc:docMk/>
          <pc:sldMk cId="3218519702" sldId="2147475138"/>
        </pc:sldMkLst>
      </pc:sldChg>
      <pc:sldChg chg="del">
        <pc:chgData name="Tove Martens" userId="6c0b9b62-4cda-42a0-9331-056c7cf64219" providerId="ADAL" clId="{49D268D6-866E-4AD9-9A30-D993F080FF87}" dt="2024-05-06T14:15:45.293" v="3493" actId="47"/>
        <pc:sldMkLst>
          <pc:docMk/>
          <pc:sldMk cId="3772562492" sldId="2147475139"/>
        </pc:sldMkLst>
      </pc:sldChg>
      <pc:sldChg chg="del">
        <pc:chgData name="Tove Martens" userId="6c0b9b62-4cda-42a0-9331-056c7cf64219" providerId="ADAL" clId="{49D268D6-866E-4AD9-9A30-D993F080FF87}" dt="2024-05-06T14:15:46.030" v="3494" actId="47"/>
        <pc:sldMkLst>
          <pc:docMk/>
          <pc:sldMk cId="1788488779" sldId="2147475140"/>
        </pc:sldMkLst>
      </pc:sldChg>
      <pc:sldChg chg="del">
        <pc:chgData name="Tove Martens" userId="6c0b9b62-4cda-42a0-9331-056c7cf64219" providerId="ADAL" clId="{49D268D6-866E-4AD9-9A30-D993F080FF87}" dt="2024-05-06T14:15:38.502" v="3488" actId="47"/>
        <pc:sldMkLst>
          <pc:docMk/>
          <pc:sldMk cId="3338082709" sldId="2147475142"/>
        </pc:sldMkLst>
      </pc:sldChg>
      <pc:sldChg chg="del">
        <pc:chgData name="Tove Martens" userId="6c0b9b62-4cda-42a0-9331-056c7cf64219" providerId="ADAL" clId="{49D268D6-866E-4AD9-9A30-D993F080FF87}" dt="2024-05-06T14:15:14.472" v="3482" actId="47"/>
        <pc:sldMkLst>
          <pc:docMk/>
          <pc:sldMk cId="714456206" sldId="2147475143"/>
        </pc:sldMkLst>
      </pc:sldChg>
      <pc:sldChg chg="del">
        <pc:chgData name="Tove Martens" userId="6c0b9b62-4cda-42a0-9331-056c7cf64219" providerId="ADAL" clId="{49D268D6-866E-4AD9-9A30-D993F080FF87}" dt="2024-05-06T14:15:39.776" v="3489" actId="47"/>
        <pc:sldMkLst>
          <pc:docMk/>
          <pc:sldMk cId="1482259034" sldId="2147475144"/>
        </pc:sldMkLst>
      </pc:sldChg>
      <pc:sldChg chg="del">
        <pc:chgData name="Tove Martens" userId="6c0b9b62-4cda-42a0-9331-056c7cf64219" providerId="ADAL" clId="{49D268D6-866E-4AD9-9A30-D993F080FF87}" dt="2024-05-06T14:15:40.594" v="3490" actId="47"/>
        <pc:sldMkLst>
          <pc:docMk/>
          <pc:sldMk cId="3747428211" sldId="2147475145"/>
        </pc:sldMkLst>
      </pc:sldChg>
      <pc:sldChg chg="del">
        <pc:chgData name="Tove Martens" userId="6c0b9b62-4cda-42a0-9331-056c7cf64219" providerId="ADAL" clId="{49D268D6-866E-4AD9-9A30-D993F080FF87}" dt="2024-05-06T14:15:41.837" v="3491" actId="47"/>
        <pc:sldMkLst>
          <pc:docMk/>
          <pc:sldMk cId="2663247744" sldId="2147475146"/>
        </pc:sldMkLst>
      </pc:sldChg>
      <pc:sldChg chg="addSp delSp modSp add mod modClrScheme chgLayout">
        <pc:chgData name="Tove Martens" userId="6c0b9b62-4cda-42a0-9331-056c7cf64219" providerId="ADAL" clId="{49D268D6-866E-4AD9-9A30-D993F080FF87}" dt="2024-05-06T17:42:57.447" v="4386" actId="20577"/>
        <pc:sldMkLst>
          <pc:docMk/>
          <pc:sldMk cId="1343108305" sldId="2147475147"/>
        </pc:sldMkLst>
        <pc:spChg chg="add mod ord">
          <ac:chgData name="Tove Martens" userId="6c0b9b62-4cda-42a0-9331-056c7cf64219" providerId="ADAL" clId="{49D268D6-866E-4AD9-9A30-D993F080FF87}" dt="2024-05-06T17:42:57.447" v="4386" actId="20577"/>
          <ac:spMkLst>
            <pc:docMk/>
            <pc:sldMk cId="1343108305" sldId="2147475147"/>
            <ac:spMk id="2" creationId="{8FCDC80E-4A84-D958-6D92-2BB375362CD1}"/>
          </ac:spMkLst>
        </pc:spChg>
        <pc:spChg chg="del mod ord">
          <ac:chgData name="Tove Martens" userId="6c0b9b62-4cda-42a0-9331-056c7cf64219" providerId="ADAL" clId="{49D268D6-866E-4AD9-9A30-D993F080FF87}" dt="2024-05-06T13:48:38.481" v="2116" actId="478"/>
          <ac:spMkLst>
            <pc:docMk/>
            <pc:sldMk cId="1343108305" sldId="2147475147"/>
            <ac:spMk id="3" creationId="{D80EC7BF-52BC-D77F-2A01-0BE4C7F9765F}"/>
          </ac:spMkLst>
        </pc:spChg>
        <pc:spChg chg="add del mod">
          <ac:chgData name="Tove Martens" userId="6c0b9b62-4cda-42a0-9331-056c7cf64219" providerId="ADAL" clId="{49D268D6-866E-4AD9-9A30-D993F080FF87}" dt="2024-05-06T13:48:45.939" v="2117" actId="478"/>
          <ac:spMkLst>
            <pc:docMk/>
            <pc:sldMk cId="1343108305" sldId="2147475147"/>
            <ac:spMk id="6" creationId="{A2422456-CEFC-4045-5D09-34D77FD69B8E}"/>
          </ac:spMkLst>
        </pc:spChg>
        <pc:spChg chg="mod ord">
          <ac:chgData name="Tove Martens" userId="6c0b9b62-4cda-42a0-9331-056c7cf64219" providerId="ADAL" clId="{49D268D6-866E-4AD9-9A30-D993F080FF87}" dt="2024-05-06T13:13:52.507" v="1375" actId="26606"/>
          <ac:spMkLst>
            <pc:docMk/>
            <pc:sldMk cId="1343108305" sldId="2147475147"/>
            <ac:spMk id="20" creationId="{24E6D9A2-ED11-7907-A343-A27574F2F1A7}"/>
          </ac:spMkLst>
        </pc:spChg>
        <pc:spChg chg="del">
          <ac:chgData name="Tove Martens" userId="6c0b9b62-4cda-42a0-9331-056c7cf64219" providerId="ADAL" clId="{49D268D6-866E-4AD9-9A30-D993F080FF87}" dt="2024-05-06T13:02:36.337" v="747" actId="478"/>
          <ac:spMkLst>
            <pc:docMk/>
            <pc:sldMk cId="1343108305" sldId="2147475147"/>
            <ac:spMk id="21" creationId="{FDF83F3A-AD2C-D5E9-37DB-A64BFF706081}"/>
          </ac:spMkLst>
        </pc:spChg>
        <pc:graphicFrameChg chg="del">
          <ac:chgData name="Tove Martens" userId="6c0b9b62-4cda-42a0-9331-056c7cf64219" providerId="ADAL" clId="{49D268D6-866E-4AD9-9A30-D993F080FF87}" dt="2024-05-06T13:03:08.427" v="748" actId="11529"/>
          <ac:graphicFrameMkLst>
            <pc:docMk/>
            <pc:sldMk cId="1343108305" sldId="2147475147"/>
            <ac:graphicFrameMk id="22" creationId="{D3821050-3A8E-AB20-D0E7-61E5D0E19095}"/>
          </ac:graphicFrameMkLst>
        </pc:graphicFrameChg>
        <pc:picChg chg="add mod">
          <ac:chgData name="Tove Martens" userId="6c0b9b62-4cda-42a0-9331-056c7cf64219" providerId="ADAL" clId="{49D268D6-866E-4AD9-9A30-D993F080FF87}" dt="2024-05-06T13:14:51.974" v="1382"/>
          <ac:picMkLst>
            <pc:docMk/>
            <pc:sldMk cId="1343108305" sldId="2147475147"/>
            <ac:picMk id="4" creationId="{5FCE6E58-F1AE-159D-56B1-B27919DEFC44}"/>
          </ac:picMkLst>
        </pc:picChg>
        <pc:picChg chg="add del">
          <ac:chgData name="Tove Martens" userId="6c0b9b62-4cda-42a0-9331-056c7cf64219" providerId="ADAL" clId="{49D268D6-866E-4AD9-9A30-D993F080FF87}" dt="2024-05-06T13:13:52.507" v="1374" actId="26606"/>
          <ac:picMkLst>
            <pc:docMk/>
            <pc:sldMk cId="1343108305" sldId="2147475147"/>
            <ac:picMk id="23" creationId="{3B80E58C-CD01-C91D-37FC-C8C25A230A98}"/>
          </ac:picMkLst>
        </pc:picChg>
        <pc:picChg chg="add del">
          <ac:chgData name="Tove Martens" userId="6c0b9b62-4cda-42a0-9331-056c7cf64219" providerId="ADAL" clId="{49D268D6-866E-4AD9-9A30-D993F080FF87}" dt="2024-05-06T13:14:51.141" v="1381" actId="478"/>
          <ac:picMkLst>
            <pc:docMk/>
            <pc:sldMk cId="1343108305" sldId="2147475147"/>
            <ac:picMk id="25" creationId="{CB6BD6B7-EDA7-53F1-BB6F-1EB5D5D32429}"/>
          </ac:picMkLst>
        </pc:picChg>
      </pc:sldChg>
      <pc:sldChg chg="addSp delSp modSp add del mod setBg modClrScheme chgLayout">
        <pc:chgData name="Tove Martens" userId="6c0b9b62-4cda-42a0-9331-056c7cf64219" providerId="ADAL" clId="{49D268D6-866E-4AD9-9A30-D993F080FF87}" dt="2024-05-06T13:49:03.200" v="2121" actId="47"/>
        <pc:sldMkLst>
          <pc:docMk/>
          <pc:sldMk cId="2071010152" sldId="2147475148"/>
        </pc:sldMkLst>
        <pc:spChg chg="mod ord">
          <ac:chgData name="Tove Martens" userId="6c0b9b62-4cda-42a0-9331-056c7cf64219" providerId="ADAL" clId="{49D268D6-866E-4AD9-9A30-D993F080FF87}" dt="2024-05-06T13:47:36.288" v="2055" actId="27636"/>
          <ac:spMkLst>
            <pc:docMk/>
            <pc:sldMk cId="2071010152" sldId="2147475148"/>
            <ac:spMk id="2" creationId="{8FCDC80E-4A84-D958-6D92-2BB375362CD1}"/>
          </ac:spMkLst>
        </pc:spChg>
        <pc:spChg chg="mod">
          <ac:chgData name="Tove Martens" userId="6c0b9b62-4cda-42a0-9331-056c7cf64219" providerId="ADAL" clId="{49D268D6-866E-4AD9-9A30-D993F080FF87}" dt="2024-05-06T13:20:00.721" v="1453" actId="26606"/>
          <ac:spMkLst>
            <pc:docMk/>
            <pc:sldMk cId="2071010152" sldId="2147475148"/>
            <ac:spMk id="3" creationId="{D80EC7BF-52BC-D77F-2A01-0BE4C7F9765F}"/>
          </ac:spMkLst>
        </pc:spChg>
        <pc:spChg chg="mod ord">
          <ac:chgData name="Tove Martens" userId="6c0b9b62-4cda-42a0-9331-056c7cf64219" providerId="ADAL" clId="{49D268D6-866E-4AD9-9A30-D993F080FF87}" dt="2024-05-06T13:20:00.721" v="1453" actId="26606"/>
          <ac:spMkLst>
            <pc:docMk/>
            <pc:sldMk cId="2071010152" sldId="2147475148"/>
            <ac:spMk id="20" creationId="{24E6D9A2-ED11-7907-A343-A27574F2F1A7}"/>
          </ac:spMkLst>
        </pc:spChg>
        <pc:spChg chg="add del mod">
          <ac:chgData name="Tove Martens" userId="6c0b9b62-4cda-42a0-9331-056c7cf64219" providerId="ADAL" clId="{49D268D6-866E-4AD9-9A30-D993F080FF87}" dt="2024-05-06T13:20:00.721" v="1453" actId="26606"/>
          <ac:spMkLst>
            <pc:docMk/>
            <pc:sldMk cId="2071010152" sldId="2147475148"/>
            <ac:spMk id="25" creationId="{79BB5483-C73F-62CF-A62B-FFACA23AE620}"/>
          </ac:spMkLst>
        </pc:spChg>
        <pc:picChg chg="add mod ord">
          <ac:chgData name="Tove Martens" userId="6c0b9b62-4cda-42a0-9331-056c7cf64219" providerId="ADAL" clId="{49D268D6-866E-4AD9-9A30-D993F080FF87}" dt="2024-05-06T13:20:00.721" v="1453" actId="26606"/>
          <ac:picMkLst>
            <pc:docMk/>
            <pc:sldMk cId="2071010152" sldId="2147475148"/>
            <ac:picMk id="4" creationId="{0613082A-0228-A43B-B98B-C48CD8895333}"/>
          </ac:picMkLst>
        </pc:picChg>
      </pc:sldChg>
      <pc:sldChg chg="addSp delSp modSp add mod">
        <pc:chgData name="Tove Martens" userId="6c0b9b62-4cda-42a0-9331-056c7cf64219" providerId="ADAL" clId="{49D268D6-866E-4AD9-9A30-D993F080FF87}" dt="2024-05-06T14:07:38.677" v="3314" actId="1076"/>
        <pc:sldMkLst>
          <pc:docMk/>
          <pc:sldMk cId="3252724122" sldId="2147475149"/>
        </pc:sldMkLst>
        <pc:spChg chg="mod">
          <ac:chgData name="Tove Martens" userId="6c0b9b62-4cda-42a0-9331-056c7cf64219" providerId="ADAL" clId="{49D268D6-866E-4AD9-9A30-D993F080FF87}" dt="2024-05-06T14:07:15.162" v="3311" actId="404"/>
          <ac:spMkLst>
            <pc:docMk/>
            <pc:sldMk cId="3252724122" sldId="2147475149"/>
            <ac:spMk id="18" creationId="{965F771D-37B8-D225-D22A-7263779078CD}"/>
          </ac:spMkLst>
        </pc:spChg>
        <pc:spChg chg="del">
          <ac:chgData name="Tove Martens" userId="6c0b9b62-4cda-42a0-9331-056c7cf64219" providerId="ADAL" clId="{49D268D6-866E-4AD9-9A30-D993F080FF87}" dt="2024-05-06T14:06:59.224" v="3308" actId="478"/>
          <ac:spMkLst>
            <pc:docMk/>
            <pc:sldMk cId="3252724122" sldId="2147475149"/>
            <ac:spMk id="27" creationId="{8923B532-6B36-6D90-1DD0-D7E74653202C}"/>
          </ac:spMkLst>
        </pc:spChg>
        <pc:spChg chg="mod">
          <ac:chgData name="Tove Martens" userId="6c0b9b62-4cda-42a0-9331-056c7cf64219" providerId="ADAL" clId="{49D268D6-866E-4AD9-9A30-D993F080FF87}" dt="2024-05-06T14:07:38.677" v="3314" actId="1076"/>
          <ac:spMkLst>
            <pc:docMk/>
            <pc:sldMk cId="3252724122" sldId="2147475149"/>
            <ac:spMk id="28" creationId="{4DFBD080-B91B-0B6C-A436-9B74EDCB9A17}"/>
          </ac:spMkLst>
        </pc:spChg>
        <pc:picChg chg="add mod">
          <ac:chgData name="Tove Martens" userId="6c0b9b62-4cda-42a0-9331-056c7cf64219" providerId="ADAL" clId="{49D268D6-866E-4AD9-9A30-D993F080FF87}" dt="2024-05-06T13:25:21.385" v="1492"/>
          <ac:picMkLst>
            <pc:docMk/>
            <pc:sldMk cId="3252724122" sldId="2147475149"/>
            <ac:picMk id="2" creationId="{B13A8481-F634-281D-909E-2DF383AB6D7B}"/>
          </ac:picMkLst>
        </pc:picChg>
        <pc:picChg chg="add mod">
          <ac:chgData name="Tove Martens" userId="6c0b9b62-4cda-42a0-9331-056c7cf64219" providerId="ADAL" clId="{49D268D6-866E-4AD9-9A30-D993F080FF87}" dt="2024-05-06T13:25:50.695" v="1521" actId="1035"/>
          <ac:picMkLst>
            <pc:docMk/>
            <pc:sldMk cId="3252724122" sldId="2147475149"/>
            <ac:picMk id="3" creationId="{9ABF7D37-DF3A-E587-FE94-8BDE1EBCEB51}"/>
          </ac:picMkLst>
        </pc:picChg>
        <pc:picChg chg="del">
          <ac:chgData name="Tove Martens" userId="6c0b9b62-4cda-42a0-9331-056c7cf64219" providerId="ADAL" clId="{49D268D6-866E-4AD9-9A30-D993F080FF87}" dt="2024-05-06T13:24:42.217" v="1477" actId="478"/>
          <ac:picMkLst>
            <pc:docMk/>
            <pc:sldMk cId="3252724122" sldId="2147475149"/>
            <ac:picMk id="13" creationId="{7F4A945C-3BD8-6853-FCB7-8519DB310CDD}"/>
          </ac:picMkLst>
        </pc:picChg>
      </pc:sldChg>
      <pc:sldChg chg="modSp new del mod">
        <pc:chgData name="Tove Martens" userId="6c0b9b62-4cda-42a0-9331-056c7cf64219" providerId="ADAL" clId="{49D268D6-866E-4AD9-9A30-D993F080FF87}" dt="2024-05-06T14:09:33.067" v="3391" actId="47"/>
        <pc:sldMkLst>
          <pc:docMk/>
          <pc:sldMk cId="268843303" sldId="2147475150"/>
        </pc:sldMkLst>
        <pc:spChg chg="mod">
          <ac:chgData name="Tove Martens" userId="6c0b9b62-4cda-42a0-9331-056c7cf64219" providerId="ADAL" clId="{49D268D6-866E-4AD9-9A30-D993F080FF87}" dt="2024-05-06T14:09:10.632" v="3390" actId="20577"/>
          <ac:spMkLst>
            <pc:docMk/>
            <pc:sldMk cId="268843303" sldId="2147475150"/>
            <ac:spMk id="3" creationId="{B813EA1B-CC8A-243C-67E0-4846C8CDF093}"/>
          </ac:spMkLst>
        </pc:spChg>
      </pc:sldChg>
      <pc:sldChg chg="add del">
        <pc:chgData name="Tove Martens" userId="6c0b9b62-4cda-42a0-9331-056c7cf64219" providerId="ADAL" clId="{49D268D6-866E-4AD9-9A30-D993F080FF87}" dt="2024-05-06T13:35:47.590" v="1747" actId="47"/>
        <pc:sldMkLst>
          <pc:docMk/>
          <pc:sldMk cId="372268532" sldId="2147475151"/>
        </pc:sldMkLst>
      </pc:sldChg>
      <pc:sldChg chg="modSp new mod">
        <pc:chgData name="Tove Martens" userId="6c0b9b62-4cda-42a0-9331-056c7cf64219" providerId="ADAL" clId="{49D268D6-866E-4AD9-9A30-D993F080FF87}" dt="2024-05-06T13:28:22.840" v="1571" actId="20577"/>
        <pc:sldMkLst>
          <pc:docMk/>
          <pc:sldMk cId="2791870968" sldId="2147475152"/>
        </pc:sldMkLst>
        <pc:spChg chg="mod">
          <ac:chgData name="Tove Martens" userId="6c0b9b62-4cda-42a0-9331-056c7cf64219" providerId="ADAL" clId="{49D268D6-866E-4AD9-9A30-D993F080FF87}" dt="2024-05-06T13:28:22.840" v="1571" actId="20577"/>
          <ac:spMkLst>
            <pc:docMk/>
            <pc:sldMk cId="2791870968" sldId="2147475152"/>
            <ac:spMk id="3" creationId="{7F40AB4F-F141-D299-1EEC-DE38DF75EC3E}"/>
          </ac:spMkLst>
        </pc:spChg>
      </pc:sldChg>
      <pc:sldChg chg="addSp modSp new del mod">
        <pc:chgData name="Tove Martens" userId="6c0b9b62-4cda-42a0-9331-056c7cf64219" providerId="ADAL" clId="{49D268D6-866E-4AD9-9A30-D993F080FF87}" dt="2024-05-06T13:34:50.750" v="1746" actId="47"/>
        <pc:sldMkLst>
          <pc:docMk/>
          <pc:sldMk cId="318264261" sldId="2147475153"/>
        </pc:sldMkLst>
        <pc:spChg chg="mod">
          <ac:chgData name="Tove Martens" userId="6c0b9b62-4cda-42a0-9331-056c7cf64219" providerId="ADAL" clId="{49D268D6-866E-4AD9-9A30-D993F080FF87}" dt="2024-05-06T13:28:40.054" v="1581" actId="20577"/>
          <ac:spMkLst>
            <pc:docMk/>
            <pc:sldMk cId="318264261" sldId="2147475153"/>
            <ac:spMk id="3" creationId="{FAA8329E-13F0-FAA6-834D-43D25D19C7BE}"/>
          </ac:spMkLst>
        </pc:spChg>
        <pc:spChg chg="mod">
          <ac:chgData name="Tove Martens" userId="6c0b9b62-4cda-42a0-9331-056c7cf64219" providerId="ADAL" clId="{49D268D6-866E-4AD9-9A30-D993F080FF87}" dt="2024-05-06T13:29:21.604" v="1595" actId="20577"/>
          <ac:spMkLst>
            <pc:docMk/>
            <pc:sldMk cId="318264261" sldId="2147475153"/>
            <ac:spMk id="5" creationId="{625E92CB-0A7B-1984-B967-6480DB497A59}"/>
          </ac:spMkLst>
        </pc:spChg>
        <pc:spChg chg="add mod">
          <ac:chgData name="Tove Martens" userId="6c0b9b62-4cda-42a0-9331-056c7cf64219" providerId="ADAL" clId="{49D268D6-866E-4AD9-9A30-D993F080FF87}" dt="2024-05-06T13:30:02.494" v="1597"/>
          <ac:spMkLst>
            <pc:docMk/>
            <pc:sldMk cId="318264261" sldId="2147475153"/>
            <ac:spMk id="6" creationId="{BC4AE793-9773-0FB7-E44D-156D15464C70}"/>
          </ac:spMkLst>
        </pc:spChg>
        <pc:picChg chg="add mod">
          <ac:chgData name="Tove Martens" userId="6c0b9b62-4cda-42a0-9331-056c7cf64219" providerId="ADAL" clId="{49D268D6-866E-4AD9-9A30-D993F080FF87}" dt="2024-05-06T13:30:02.494" v="1597"/>
          <ac:picMkLst>
            <pc:docMk/>
            <pc:sldMk cId="318264261" sldId="2147475153"/>
            <ac:picMk id="7" creationId="{CC026112-0540-E45A-7ADA-2BF64B5E6AC9}"/>
          </ac:picMkLst>
        </pc:picChg>
      </pc:sldChg>
      <pc:sldChg chg="addSp modSp add mod">
        <pc:chgData name="Tove Martens" userId="6c0b9b62-4cda-42a0-9331-056c7cf64219" providerId="ADAL" clId="{49D268D6-866E-4AD9-9A30-D993F080FF87}" dt="2024-05-06T17:41:35.767" v="4378" actId="14100"/>
        <pc:sldMkLst>
          <pc:docMk/>
          <pc:sldMk cId="2456704360" sldId="2147475154"/>
        </pc:sldMkLst>
        <pc:spChg chg="add mod">
          <ac:chgData name="Tove Martens" userId="6c0b9b62-4cda-42a0-9331-056c7cf64219" providerId="ADAL" clId="{49D268D6-866E-4AD9-9A30-D993F080FF87}" dt="2024-05-06T13:34:12.641" v="1745" actId="1035"/>
          <ac:spMkLst>
            <pc:docMk/>
            <pc:sldMk cId="2456704360" sldId="2147475154"/>
            <ac:spMk id="3" creationId="{0F557952-A3F7-98E4-1608-EE87E8BE6013}"/>
          </ac:spMkLst>
        </pc:spChg>
        <pc:spChg chg="mod">
          <ac:chgData name="Tove Martens" userId="6c0b9b62-4cda-42a0-9331-056c7cf64219" providerId="ADAL" clId="{49D268D6-866E-4AD9-9A30-D993F080FF87}" dt="2024-05-06T14:10:51.395" v="3394" actId="6549"/>
          <ac:spMkLst>
            <pc:docMk/>
            <pc:sldMk cId="2456704360" sldId="2147475154"/>
            <ac:spMk id="10" creationId="{63FF5B59-CD8B-1750-7F7D-A1BE5CFC0005}"/>
          </ac:spMkLst>
        </pc:spChg>
        <pc:picChg chg="mod">
          <ac:chgData name="Tove Martens" userId="6c0b9b62-4cda-42a0-9331-056c7cf64219" providerId="ADAL" clId="{49D268D6-866E-4AD9-9A30-D993F080FF87}" dt="2024-05-06T17:41:35.767" v="4378" actId="14100"/>
          <ac:picMkLst>
            <pc:docMk/>
            <pc:sldMk cId="2456704360" sldId="2147475154"/>
            <ac:picMk id="5" creationId="{062231C8-43AA-9FDC-E4B9-044328043228}"/>
          </ac:picMkLst>
        </pc:picChg>
      </pc:sldChg>
      <pc:sldChg chg="addSp delSp modSp new del mod">
        <pc:chgData name="Tove Martens" userId="6c0b9b62-4cda-42a0-9331-056c7cf64219" providerId="ADAL" clId="{49D268D6-866E-4AD9-9A30-D993F080FF87}" dt="2024-05-06T14:15:01.919" v="3480" actId="47"/>
        <pc:sldMkLst>
          <pc:docMk/>
          <pc:sldMk cId="2006300249" sldId="2147475155"/>
        </pc:sldMkLst>
        <pc:grpChg chg="add del mod">
          <ac:chgData name="Tove Martens" userId="6c0b9b62-4cda-42a0-9331-056c7cf64219" providerId="ADAL" clId="{49D268D6-866E-4AD9-9A30-D993F080FF87}" dt="2024-05-06T13:39:41.881" v="1781" actId="21"/>
          <ac:grpSpMkLst>
            <pc:docMk/>
            <pc:sldMk cId="2006300249" sldId="2147475155"/>
            <ac:grpSpMk id="7" creationId="{9D6E650B-15E2-FD63-9EE7-EAFA11DBB6FF}"/>
          </ac:grpSpMkLst>
        </pc:grpChg>
        <pc:picChg chg="mod">
          <ac:chgData name="Tove Martens" userId="6c0b9b62-4cda-42a0-9331-056c7cf64219" providerId="ADAL" clId="{49D268D6-866E-4AD9-9A30-D993F080FF87}" dt="2024-05-06T13:38:15.743" v="1753"/>
          <ac:picMkLst>
            <pc:docMk/>
            <pc:sldMk cId="2006300249" sldId="2147475155"/>
            <ac:picMk id="8" creationId="{CF41E45B-1F82-5483-ACD8-C19F5D61586A}"/>
          </ac:picMkLst>
        </pc:picChg>
        <pc:picChg chg="mod">
          <ac:chgData name="Tove Martens" userId="6c0b9b62-4cda-42a0-9331-056c7cf64219" providerId="ADAL" clId="{49D268D6-866E-4AD9-9A30-D993F080FF87}" dt="2024-05-06T13:38:15.743" v="1753"/>
          <ac:picMkLst>
            <pc:docMk/>
            <pc:sldMk cId="2006300249" sldId="2147475155"/>
            <ac:picMk id="9" creationId="{BCFE9F09-53B9-ED85-C284-45602910AD13}"/>
          </ac:picMkLst>
        </pc:picChg>
      </pc:sldChg>
      <pc:sldChg chg="add del">
        <pc:chgData name="Tove Martens" userId="6c0b9b62-4cda-42a0-9331-056c7cf64219" providerId="ADAL" clId="{49D268D6-866E-4AD9-9A30-D993F080FF87}" dt="2024-05-06T14:08:14.259" v="3336" actId="47"/>
        <pc:sldMkLst>
          <pc:docMk/>
          <pc:sldMk cId="1713529871" sldId="2147475156"/>
        </pc:sldMkLst>
      </pc:sldChg>
      <pc:sldChg chg="add del">
        <pc:chgData name="Tove Martens" userId="6c0b9b62-4cda-42a0-9331-056c7cf64219" providerId="ADAL" clId="{49D268D6-866E-4AD9-9A30-D993F080FF87}" dt="2024-05-06T13:38:43.024" v="1756" actId="47"/>
        <pc:sldMkLst>
          <pc:docMk/>
          <pc:sldMk cId="2041799697" sldId="2147475156"/>
        </pc:sldMkLst>
      </pc:sldChg>
      <pc:sldChg chg="add del">
        <pc:chgData name="Tove Martens" userId="6c0b9b62-4cda-42a0-9331-056c7cf64219" providerId="ADAL" clId="{49D268D6-866E-4AD9-9A30-D993F080FF87}" dt="2024-05-06T14:08:15.594" v="3337" actId="47"/>
        <pc:sldMkLst>
          <pc:docMk/>
          <pc:sldMk cId="450144205" sldId="2147475157"/>
        </pc:sldMkLst>
      </pc:sldChg>
      <pc:sldChg chg="new del">
        <pc:chgData name="Tove Martens" userId="6c0b9b62-4cda-42a0-9331-056c7cf64219" providerId="ADAL" clId="{49D268D6-866E-4AD9-9A30-D993F080FF87}" dt="2024-05-06T14:10:14.223" v="3392" actId="47"/>
        <pc:sldMkLst>
          <pc:docMk/>
          <pc:sldMk cId="3929497462" sldId="2147475158"/>
        </pc:sldMkLst>
      </pc:sldChg>
      <pc:sldChg chg="addSp delSp modSp new mod">
        <pc:chgData name="Tove Martens" userId="6c0b9b62-4cda-42a0-9331-056c7cf64219" providerId="ADAL" clId="{49D268D6-866E-4AD9-9A30-D993F080FF87}" dt="2024-05-06T17:41:10.939" v="4377" actId="20577"/>
        <pc:sldMkLst>
          <pc:docMk/>
          <pc:sldMk cId="3269359659" sldId="2147475159"/>
        </pc:sldMkLst>
        <pc:spChg chg="mod">
          <ac:chgData name="Tove Martens" userId="6c0b9b62-4cda-42a0-9331-056c7cf64219" providerId="ADAL" clId="{49D268D6-866E-4AD9-9A30-D993F080FF87}" dt="2024-05-06T17:40:15.935" v="4324" actId="20577"/>
          <ac:spMkLst>
            <pc:docMk/>
            <pc:sldMk cId="3269359659" sldId="2147475159"/>
            <ac:spMk id="3" creationId="{585BD1CF-22AF-3A46-8562-98887B68A39F}"/>
          </ac:spMkLst>
        </pc:spChg>
        <pc:spChg chg="del">
          <ac:chgData name="Tove Martens" userId="6c0b9b62-4cda-42a0-9331-056c7cf64219" providerId="ADAL" clId="{49D268D6-866E-4AD9-9A30-D993F080FF87}" dt="2024-05-06T13:52:15.442" v="2355" actId="3680"/>
          <ac:spMkLst>
            <pc:docMk/>
            <pc:sldMk cId="3269359659" sldId="2147475159"/>
            <ac:spMk id="4" creationId="{09299D37-747E-633A-022E-5336FAD51156}"/>
          </ac:spMkLst>
        </pc:spChg>
        <pc:spChg chg="mod">
          <ac:chgData name="Tove Martens" userId="6c0b9b62-4cda-42a0-9331-056c7cf64219" providerId="ADAL" clId="{49D268D6-866E-4AD9-9A30-D993F080FF87}" dt="2024-05-06T17:41:10.939" v="4377" actId="20577"/>
          <ac:spMkLst>
            <pc:docMk/>
            <pc:sldMk cId="3269359659" sldId="2147475159"/>
            <ac:spMk id="5" creationId="{7BFB6CB5-B82F-2494-0229-7CE0917F215B}"/>
          </ac:spMkLst>
        </pc:spChg>
        <pc:spChg chg="add mod">
          <ac:chgData name="Tove Martens" userId="6c0b9b62-4cda-42a0-9331-056c7cf64219" providerId="ADAL" clId="{49D268D6-866E-4AD9-9A30-D993F080FF87}" dt="2024-05-06T14:06:03.826" v="3245" actId="20577"/>
          <ac:spMkLst>
            <pc:docMk/>
            <pc:sldMk cId="3269359659" sldId="2147475159"/>
            <ac:spMk id="7" creationId="{F48514B2-5EC0-B690-A8AF-1278232732EA}"/>
          </ac:spMkLst>
        </pc:spChg>
        <pc:graphicFrameChg chg="add mod ord modGraphic">
          <ac:chgData name="Tove Martens" userId="6c0b9b62-4cda-42a0-9331-056c7cf64219" providerId="ADAL" clId="{49D268D6-866E-4AD9-9A30-D993F080FF87}" dt="2024-05-06T14:00:43.674" v="3176" actId="1076"/>
          <ac:graphicFrameMkLst>
            <pc:docMk/>
            <pc:sldMk cId="3269359659" sldId="2147475159"/>
            <ac:graphicFrameMk id="6" creationId="{D579034E-73DC-52B5-F10F-C952552A2D01}"/>
          </ac:graphicFrameMkLst>
        </pc:graphicFrameChg>
      </pc:sldChg>
      <pc:sldChg chg="modSp new del mod">
        <pc:chgData name="Tove Martens" userId="6c0b9b62-4cda-42a0-9331-056c7cf64219" providerId="ADAL" clId="{49D268D6-866E-4AD9-9A30-D993F080FF87}" dt="2024-05-06T14:05:47.594" v="3241" actId="47"/>
        <pc:sldMkLst>
          <pc:docMk/>
          <pc:sldMk cId="1907749687" sldId="2147475160"/>
        </pc:sldMkLst>
        <pc:spChg chg="mod">
          <ac:chgData name="Tove Martens" userId="6c0b9b62-4cda-42a0-9331-056c7cf64219" providerId="ADAL" clId="{49D268D6-866E-4AD9-9A30-D993F080FF87}" dt="2024-05-06T14:02:28.928" v="3240" actId="20577"/>
          <ac:spMkLst>
            <pc:docMk/>
            <pc:sldMk cId="1907749687" sldId="2147475160"/>
            <ac:spMk id="2" creationId="{110754C4-A84B-FA95-3BE4-85F8D59DDB9E}"/>
          </ac:spMkLst>
        </pc:spChg>
      </pc:sldChg>
      <pc:sldChg chg="addSp delSp modSp new mod">
        <pc:chgData name="Tove Martens" userId="6c0b9b62-4cda-42a0-9331-056c7cf64219" providerId="ADAL" clId="{49D268D6-866E-4AD9-9A30-D993F080FF87}" dt="2024-05-06T14:13:04.107" v="3477" actId="14100"/>
        <pc:sldMkLst>
          <pc:docMk/>
          <pc:sldMk cId="3145648989" sldId="2147475160"/>
        </pc:sldMkLst>
        <pc:spChg chg="del mod">
          <ac:chgData name="Tove Martens" userId="6c0b9b62-4cda-42a0-9331-056c7cf64219" providerId="ADAL" clId="{49D268D6-866E-4AD9-9A30-D993F080FF87}" dt="2024-05-06T14:12:06.502" v="3422"/>
          <ac:spMkLst>
            <pc:docMk/>
            <pc:sldMk cId="3145648989" sldId="2147475160"/>
            <ac:spMk id="2" creationId="{0D7AB860-6E4F-694A-B491-7D0EBD24DA68}"/>
          </ac:spMkLst>
        </pc:spChg>
        <pc:spChg chg="mod">
          <ac:chgData name="Tove Martens" userId="6c0b9b62-4cda-42a0-9331-056c7cf64219" providerId="ADAL" clId="{49D268D6-866E-4AD9-9A30-D993F080FF87}" dt="2024-05-06T14:12:59.364" v="3476" actId="1076"/>
          <ac:spMkLst>
            <pc:docMk/>
            <pc:sldMk cId="3145648989" sldId="2147475160"/>
            <ac:spMk id="3" creationId="{D5A2AC3B-FD9D-2CA5-7CF2-0EC26F444D41}"/>
          </ac:spMkLst>
        </pc:spChg>
        <pc:spChg chg="mod">
          <ac:chgData name="Tove Martens" userId="6c0b9b62-4cda-42a0-9331-056c7cf64219" providerId="ADAL" clId="{49D268D6-866E-4AD9-9A30-D993F080FF87}" dt="2024-05-06T14:11:49.224" v="3420" actId="20577"/>
          <ac:spMkLst>
            <pc:docMk/>
            <pc:sldMk cId="3145648989" sldId="2147475160"/>
            <ac:spMk id="4" creationId="{22BD2608-9DC8-DCD6-13A3-7162277B8421}"/>
          </ac:spMkLst>
        </pc:spChg>
        <pc:spChg chg="mod">
          <ac:chgData name="Tove Martens" userId="6c0b9b62-4cda-42a0-9331-056c7cf64219" providerId="ADAL" clId="{49D268D6-866E-4AD9-9A30-D993F080FF87}" dt="2024-05-06T14:12:33.784" v="3474" actId="20577"/>
          <ac:spMkLst>
            <pc:docMk/>
            <pc:sldMk cId="3145648989" sldId="2147475160"/>
            <ac:spMk id="6" creationId="{9DCDB22F-FD1E-BB02-3C9E-EF0DC1AC7D77}"/>
          </ac:spMkLst>
        </pc:spChg>
        <pc:spChg chg="add del mod">
          <ac:chgData name="Tove Martens" userId="6c0b9b62-4cda-42a0-9331-056c7cf64219" providerId="ADAL" clId="{49D268D6-866E-4AD9-9A30-D993F080FF87}" dt="2024-05-06T14:12:13.097" v="3425" actId="478"/>
          <ac:spMkLst>
            <pc:docMk/>
            <pc:sldMk cId="3145648989" sldId="2147475160"/>
            <ac:spMk id="9" creationId="{CF33A647-45DE-AB67-2ABD-90BC65A7ED80}"/>
          </ac:spMkLst>
        </pc:spChg>
        <pc:picChg chg="add del mod">
          <ac:chgData name="Tove Martens" userId="6c0b9b62-4cda-42a0-9331-056c7cf64219" providerId="ADAL" clId="{49D268D6-866E-4AD9-9A30-D993F080FF87}" dt="2024-05-06T14:12:10.478" v="3424" actId="478"/>
          <ac:picMkLst>
            <pc:docMk/>
            <pc:sldMk cId="3145648989" sldId="2147475160"/>
            <ac:picMk id="7" creationId="{C1983301-CF64-A7A1-3693-24EAE22AF1A1}"/>
          </ac:picMkLst>
        </pc:picChg>
        <pc:picChg chg="add mod">
          <ac:chgData name="Tove Martens" userId="6c0b9b62-4cda-42a0-9331-056c7cf64219" providerId="ADAL" clId="{49D268D6-866E-4AD9-9A30-D993F080FF87}" dt="2024-05-06T14:13:04.107" v="3477" actId="14100"/>
          <ac:picMkLst>
            <pc:docMk/>
            <pc:sldMk cId="3145648989" sldId="2147475160"/>
            <ac:picMk id="10" creationId="{92884B2B-4AB4-F563-2EDF-484F825E01BE}"/>
          </ac:picMkLst>
        </pc:picChg>
      </pc:sldChg>
      <pc:sldChg chg="addSp delSp modSp new del mod modTransition modClrScheme chgLayout">
        <pc:chgData name="Tove Martens" userId="6c0b9b62-4cda-42a0-9331-056c7cf64219" providerId="ADAL" clId="{49D268D6-866E-4AD9-9A30-D993F080FF87}" dt="2024-05-06T16:56:19.389" v="3850" actId="47"/>
        <pc:sldMkLst>
          <pc:docMk/>
          <pc:sldMk cId="2549789927" sldId="2147475161"/>
        </pc:sldMkLst>
        <pc:spChg chg="mod">
          <ac:chgData name="Tove Martens" userId="6c0b9b62-4cda-42a0-9331-056c7cf64219" providerId="ADAL" clId="{49D268D6-866E-4AD9-9A30-D993F080FF87}" dt="2024-05-06T14:34:16.097" v="3537" actId="26606"/>
          <ac:spMkLst>
            <pc:docMk/>
            <pc:sldMk cId="2549789927" sldId="2147475161"/>
            <ac:spMk id="2" creationId="{C5738E52-C418-D01F-D3B0-952D7908866E}"/>
          </ac:spMkLst>
        </pc:spChg>
        <pc:spChg chg="del">
          <ac:chgData name="Tove Martens" userId="6c0b9b62-4cda-42a0-9331-056c7cf64219" providerId="ADAL" clId="{49D268D6-866E-4AD9-9A30-D993F080FF87}" dt="2024-05-06T14:34:01.582" v="3532" actId="22"/>
          <ac:spMkLst>
            <pc:docMk/>
            <pc:sldMk cId="2549789927" sldId="2147475161"/>
            <ac:spMk id="3" creationId="{15B78B8A-DC58-FB52-07B7-81E841549E5F}"/>
          </ac:spMkLst>
        </pc:spChg>
        <pc:spChg chg="mod ord">
          <ac:chgData name="Tove Martens" userId="6c0b9b62-4cda-42a0-9331-056c7cf64219" providerId="ADAL" clId="{49D268D6-866E-4AD9-9A30-D993F080FF87}" dt="2024-05-06T14:34:16.097" v="3537" actId="26606"/>
          <ac:spMkLst>
            <pc:docMk/>
            <pc:sldMk cId="2549789927" sldId="2147475161"/>
            <ac:spMk id="4" creationId="{5FE6AC6C-F1A2-E10C-F44E-76861D892933}"/>
          </ac:spMkLst>
        </pc:spChg>
        <pc:spChg chg="add mod">
          <ac:chgData name="Tove Martens" userId="6c0b9b62-4cda-42a0-9331-056c7cf64219" providerId="ADAL" clId="{49D268D6-866E-4AD9-9A30-D993F080FF87}" dt="2024-05-06T14:34:16.097" v="3537" actId="26606"/>
          <ac:spMkLst>
            <pc:docMk/>
            <pc:sldMk cId="2549789927" sldId="2147475161"/>
            <ac:spMk id="11" creationId="{5CBA4928-A582-1B7F-0400-4514B8CCCE77}"/>
          </ac:spMkLst>
        </pc:spChg>
        <pc:picChg chg="add mod ord">
          <ac:chgData name="Tove Martens" userId="6c0b9b62-4cda-42a0-9331-056c7cf64219" providerId="ADAL" clId="{49D268D6-866E-4AD9-9A30-D993F080FF87}" dt="2024-05-06T14:34:20.255" v="3539" actId="962"/>
          <ac:picMkLst>
            <pc:docMk/>
            <pc:sldMk cId="2549789927" sldId="2147475161"/>
            <ac:picMk id="6" creationId="{7FC4AB39-471E-1B8A-853B-FAA77E0DFDDF}"/>
          </ac:picMkLst>
        </pc:picChg>
        <pc:picChg chg="add del">
          <ac:chgData name="Tove Martens" userId="6c0b9b62-4cda-42a0-9331-056c7cf64219" providerId="ADAL" clId="{49D268D6-866E-4AD9-9A30-D993F080FF87}" dt="2024-05-06T14:35:39.784" v="3541" actId="478"/>
          <ac:picMkLst>
            <pc:docMk/>
            <pc:sldMk cId="2549789927" sldId="2147475161"/>
            <ac:picMk id="8" creationId="{90D5FFB3-DE19-0BB1-7CAD-A7EFEF3500C4}"/>
          </ac:picMkLst>
        </pc:picChg>
      </pc:sldChg>
      <pc:sldChg chg="addSp delSp modSp add mod ord modNotesTx">
        <pc:chgData name="Tove Martens" userId="6c0b9b62-4cda-42a0-9331-056c7cf64219" providerId="ADAL" clId="{49D268D6-866E-4AD9-9A30-D993F080FF87}" dt="2024-05-06T17:41:51.205" v="4380"/>
        <pc:sldMkLst>
          <pc:docMk/>
          <pc:sldMk cId="1914809760" sldId="2147475162"/>
        </pc:sldMkLst>
        <pc:spChg chg="mod">
          <ac:chgData name="Tove Martens" userId="6c0b9b62-4cda-42a0-9331-056c7cf64219" providerId="ADAL" clId="{49D268D6-866E-4AD9-9A30-D993F080FF87}" dt="2024-05-06T17:35:51.231" v="4222" actId="27636"/>
          <ac:spMkLst>
            <pc:docMk/>
            <pc:sldMk cId="1914809760" sldId="2147475162"/>
            <ac:spMk id="2" creationId="{C5738E52-C418-D01F-D3B0-952D7908866E}"/>
          </ac:spMkLst>
        </pc:spChg>
        <pc:spChg chg="add del mod">
          <ac:chgData name="Tove Martens" userId="6c0b9b62-4cda-42a0-9331-056c7cf64219" providerId="ADAL" clId="{49D268D6-866E-4AD9-9A30-D993F080FF87}" dt="2024-05-06T14:36:11.847" v="3546" actId="26606"/>
          <ac:spMkLst>
            <pc:docMk/>
            <pc:sldMk cId="1914809760" sldId="2147475162"/>
            <ac:spMk id="5" creationId="{107B7B40-5F43-8EE5-33A5-7D267E3F77D8}"/>
          </ac:spMkLst>
        </pc:spChg>
        <pc:spChg chg="del">
          <ac:chgData name="Tove Martens" userId="6c0b9b62-4cda-42a0-9331-056c7cf64219" providerId="ADAL" clId="{49D268D6-866E-4AD9-9A30-D993F080FF87}" dt="2024-05-06T14:36:11.847" v="3546" actId="26606"/>
          <ac:spMkLst>
            <pc:docMk/>
            <pc:sldMk cId="1914809760" sldId="2147475162"/>
            <ac:spMk id="11" creationId="{5CBA4928-A582-1B7F-0400-4514B8CCCE77}"/>
          </ac:spMkLst>
        </pc:spChg>
        <pc:spChg chg="add mod">
          <ac:chgData name="Tove Martens" userId="6c0b9b62-4cda-42a0-9331-056c7cf64219" providerId="ADAL" clId="{49D268D6-866E-4AD9-9A30-D993F080FF87}" dt="2024-05-06T17:35:38.199" v="4219" actId="26606"/>
          <ac:spMkLst>
            <pc:docMk/>
            <pc:sldMk cId="1914809760" sldId="2147475162"/>
            <ac:spMk id="16" creationId="{98E27D30-E53D-8128-151E-51675A576FEB}"/>
          </ac:spMkLst>
        </pc:spChg>
        <pc:picChg chg="add del">
          <ac:chgData name="Tove Martens" userId="6c0b9b62-4cda-42a0-9331-056c7cf64219" providerId="ADAL" clId="{49D268D6-866E-4AD9-9A30-D993F080FF87}" dt="2024-05-06T17:22:24.427" v="3948" actId="478"/>
          <ac:picMkLst>
            <pc:docMk/>
            <pc:sldMk cId="1914809760" sldId="2147475162"/>
            <ac:picMk id="5" creationId="{320C91E9-9BAF-A52D-07D2-2BADE69B69EC}"/>
          </ac:picMkLst>
        </pc:picChg>
        <pc:picChg chg="del">
          <ac:chgData name="Tove Martens" userId="6c0b9b62-4cda-42a0-9331-056c7cf64219" providerId="ADAL" clId="{49D268D6-866E-4AD9-9A30-D993F080FF87}" dt="2024-05-06T14:35:46.902" v="3543" actId="478"/>
          <ac:picMkLst>
            <pc:docMk/>
            <pc:sldMk cId="1914809760" sldId="2147475162"/>
            <ac:picMk id="6" creationId="{7FC4AB39-471E-1B8A-853B-FAA77E0DFDDF}"/>
          </ac:picMkLst>
        </pc:picChg>
        <pc:picChg chg="add mod">
          <ac:chgData name="Tove Martens" userId="6c0b9b62-4cda-42a0-9331-056c7cf64219" providerId="ADAL" clId="{49D268D6-866E-4AD9-9A30-D993F080FF87}" dt="2024-05-06T17:35:38.199" v="4219" actId="26606"/>
          <ac:picMkLst>
            <pc:docMk/>
            <pc:sldMk cId="1914809760" sldId="2147475162"/>
            <ac:picMk id="8" creationId="{9456EC10-5FE9-4A03-7C85-77B41C97050A}"/>
          </ac:picMkLst>
        </pc:picChg>
      </pc:sldChg>
      <pc:sldChg chg="addSp delSp modSp add mod ord">
        <pc:chgData name="Tove Martens" userId="6c0b9b62-4cda-42a0-9331-056c7cf64219" providerId="ADAL" clId="{49D268D6-866E-4AD9-9A30-D993F080FF87}" dt="2024-05-06T17:41:51.205" v="4380"/>
        <pc:sldMkLst>
          <pc:docMk/>
          <pc:sldMk cId="2339593924" sldId="2147475163"/>
        </pc:sldMkLst>
        <pc:spChg chg="mod">
          <ac:chgData name="Tove Martens" userId="6c0b9b62-4cda-42a0-9331-056c7cf64219" providerId="ADAL" clId="{49D268D6-866E-4AD9-9A30-D993F080FF87}" dt="2024-05-06T17:22:08.271" v="3942" actId="20577"/>
          <ac:spMkLst>
            <pc:docMk/>
            <pc:sldMk cId="2339593924" sldId="2147475163"/>
            <ac:spMk id="2" creationId="{C5738E52-C418-D01F-D3B0-952D7908866E}"/>
          </ac:spMkLst>
        </pc:spChg>
        <pc:spChg chg="add del mod">
          <ac:chgData name="Tove Martens" userId="6c0b9b62-4cda-42a0-9331-056c7cf64219" providerId="ADAL" clId="{49D268D6-866E-4AD9-9A30-D993F080FF87}" dt="2024-05-06T16:56:12.464" v="3849" actId="478"/>
          <ac:spMkLst>
            <pc:docMk/>
            <pc:sldMk cId="2339593924" sldId="2147475163"/>
            <ac:spMk id="12" creationId="{C4237584-C535-2D2F-BEB5-331FBE7ABE80}"/>
          </ac:spMkLst>
        </pc:spChg>
        <pc:spChg chg="mod ord">
          <ac:chgData name="Tove Martens" userId="6c0b9b62-4cda-42a0-9331-056c7cf64219" providerId="ADAL" clId="{49D268D6-866E-4AD9-9A30-D993F080FF87}" dt="2024-05-06T17:35:21.913" v="4218" actId="26606"/>
          <ac:spMkLst>
            <pc:docMk/>
            <pc:sldMk cId="2339593924" sldId="2147475163"/>
            <ac:spMk id="16" creationId="{98E27D30-E53D-8128-151E-51675A576FEB}"/>
          </ac:spMkLst>
        </pc:spChg>
        <pc:picChg chg="add del mod">
          <ac:chgData name="Tove Martens" userId="6c0b9b62-4cda-42a0-9331-056c7cf64219" providerId="ADAL" clId="{49D268D6-866E-4AD9-9A30-D993F080FF87}" dt="2024-05-06T17:35:14.644" v="4214" actId="478"/>
          <ac:picMkLst>
            <pc:docMk/>
            <pc:sldMk cId="2339593924" sldId="2147475163"/>
            <ac:picMk id="5" creationId="{E5C86A59-E7B7-4689-C0F4-8895D2AA7C56}"/>
          </ac:picMkLst>
        </pc:picChg>
        <pc:picChg chg="add del mod">
          <ac:chgData name="Tove Martens" userId="6c0b9b62-4cda-42a0-9331-056c7cf64219" providerId="ADAL" clId="{49D268D6-866E-4AD9-9A30-D993F080FF87}" dt="2024-05-06T17:34:24.937" v="4212" actId="478"/>
          <ac:picMkLst>
            <pc:docMk/>
            <pc:sldMk cId="2339593924" sldId="2147475163"/>
            <ac:picMk id="7" creationId="{7176996D-8709-A862-700D-C1249DCE7C01}"/>
          </ac:picMkLst>
        </pc:picChg>
        <pc:picChg chg="del">
          <ac:chgData name="Tove Martens" userId="6c0b9b62-4cda-42a0-9331-056c7cf64219" providerId="ADAL" clId="{49D268D6-866E-4AD9-9A30-D993F080FF87}" dt="2024-05-06T14:42:27.955" v="3554" actId="478"/>
          <ac:picMkLst>
            <pc:docMk/>
            <pc:sldMk cId="2339593924" sldId="2147475163"/>
            <ac:picMk id="8" creationId="{9456EC10-5FE9-4A03-7C85-77B41C97050A}"/>
          </ac:picMkLst>
        </pc:picChg>
        <pc:picChg chg="add del mod">
          <ac:chgData name="Tove Martens" userId="6c0b9b62-4cda-42a0-9331-056c7cf64219" providerId="ADAL" clId="{49D268D6-866E-4AD9-9A30-D993F080FF87}" dt="2024-05-06T17:34:26.825" v="4213" actId="478"/>
          <ac:picMkLst>
            <pc:docMk/>
            <pc:sldMk cId="2339593924" sldId="2147475163"/>
            <ac:picMk id="9" creationId="{5C799290-2778-6FEE-4437-DC350FF0E3BD}"/>
          </ac:picMkLst>
        </pc:picChg>
        <pc:picChg chg="add del mod">
          <ac:chgData name="Tove Martens" userId="6c0b9b62-4cda-42a0-9331-056c7cf64219" providerId="ADAL" clId="{49D268D6-866E-4AD9-9A30-D993F080FF87}" dt="2024-05-06T17:35:16.416" v="4215" actId="478"/>
          <ac:picMkLst>
            <pc:docMk/>
            <pc:sldMk cId="2339593924" sldId="2147475163"/>
            <ac:picMk id="11" creationId="{E7615E90-5733-2DDD-813D-D54961A4AF81}"/>
          </ac:picMkLst>
        </pc:picChg>
        <pc:picChg chg="add mod">
          <ac:chgData name="Tove Martens" userId="6c0b9b62-4cda-42a0-9331-056c7cf64219" providerId="ADAL" clId="{49D268D6-866E-4AD9-9A30-D993F080FF87}" dt="2024-05-06T17:35:21.913" v="4218" actId="26606"/>
          <ac:picMkLst>
            <pc:docMk/>
            <pc:sldMk cId="2339593924" sldId="2147475163"/>
            <ac:picMk id="14" creationId="{84695378-4666-B6C8-D723-A3598EDA77F0}"/>
          </ac:picMkLst>
        </pc:picChg>
      </pc:sldChg>
      <pc:sldChg chg="addSp delSp modSp add mod ord modNotesTx">
        <pc:chgData name="Tove Martens" userId="6c0b9b62-4cda-42a0-9331-056c7cf64219" providerId="ADAL" clId="{49D268D6-866E-4AD9-9A30-D993F080FF87}" dt="2024-05-06T17:41:51.205" v="4380"/>
        <pc:sldMkLst>
          <pc:docMk/>
          <pc:sldMk cId="1139443724" sldId="2147475164"/>
        </pc:sldMkLst>
        <pc:spChg chg="mod">
          <ac:chgData name="Tove Martens" userId="6c0b9b62-4cda-42a0-9331-056c7cf64219" providerId="ADAL" clId="{49D268D6-866E-4AD9-9A30-D993F080FF87}" dt="2024-05-06T17:36:00.016" v="4223" actId="14100"/>
          <ac:spMkLst>
            <pc:docMk/>
            <pc:sldMk cId="1139443724" sldId="2147475164"/>
            <ac:spMk id="2" creationId="{C5738E52-C418-D01F-D3B0-952D7908866E}"/>
          </ac:spMkLst>
        </pc:spChg>
        <pc:spChg chg="mod ord">
          <ac:chgData name="Tove Martens" userId="6c0b9b62-4cda-42a0-9331-056c7cf64219" providerId="ADAL" clId="{49D268D6-866E-4AD9-9A30-D993F080FF87}" dt="2024-05-06T17:36:04.091" v="4224" actId="14100"/>
          <ac:spMkLst>
            <pc:docMk/>
            <pc:sldMk cId="1139443724" sldId="2147475164"/>
            <ac:spMk id="16" creationId="{98E27D30-E53D-8128-151E-51675A576FEB}"/>
          </ac:spMkLst>
        </pc:spChg>
        <pc:picChg chg="del mod">
          <ac:chgData name="Tove Martens" userId="6c0b9b62-4cda-42a0-9331-056c7cf64219" providerId="ADAL" clId="{49D268D6-866E-4AD9-9A30-D993F080FF87}" dt="2024-05-06T17:30:44.338" v="4176" actId="478"/>
          <ac:picMkLst>
            <pc:docMk/>
            <pc:sldMk cId="1139443724" sldId="2147475164"/>
            <ac:picMk id="5" creationId="{320C91E9-9BAF-A52D-07D2-2BADE69B69EC}"/>
          </ac:picMkLst>
        </pc:picChg>
        <pc:picChg chg="add mod">
          <ac:chgData name="Tove Martens" userId="6c0b9b62-4cda-42a0-9331-056c7cf64219" providerId="ADAL" clId="{49D268D6-866E-4AD9-9A30-D993F080FF87}" dt="2024-05-06T17:30:59.969" v="4182" actId="962"/>
          <ac:picMkLst>
            <pc:docMk/>
            <pc:sldMk cId="1139443724" sldId="2147475164"/>
            <ac:picMk id="6" creationId="{AA1CC8EA-4A55-C380-553F-014423C41DD8}"/>
          </ac:picMkLst>
        </pc:picChg>
        <pc:picChg chg="del">
          <ac:chgData name="Tove Martens" userId="6c0b9b62-4cda-42a0-9331-056c7cf64219" providerId="ADAL" clId="{49D268D6-866E-4AD9-9A30-D993F080FF87}" dt="2024-05-06T17:22:53.638" v="3996" actId="478"/>
          <ac:picMkLst>
            <pc:docMk/>
            <pc:sldMk cId="1139443724" sldId="2147475164"/>
            <ac:picMk id="8" creationId="{9456EC10-5FE9-4A03-7C85-77B41C97050A}"/>
          </ac:picMkLst>
        </pc:picChg>
      </pc:sldChg>
      <pc:sldMasterChg chg="delSldLayout">
        <pc:chgData name="Tove Martens" userId="6c0b9b62-4cda-42a0-9331-056c7cf64219" providerId="ADAL" clId="{49D268D6-866E-4AD9-9A30-D993F080FF87}" dt="2024-05-06T14:15:51.166" v="3496" actId="47"/>
        <pc:sldMasterMkLst>
          <pc:docMk/>
          <pc:sldMasterMk cId="3403465013" sldId="2147483686"/>
        </pc:sldMasterMkLst>
        <pc:sldLayoutChg chg="del">
          <pc:chgData name="Tove Martens" userId="6c0b9b62-4cda-42a0-9331-056c7cf64219" providerId="ADAL" clId="{49D268D6-866E-4AD9-9A30-D993F080FF87}" dt="2024-05-06T14:15:14.472" v="3482" actId="47"/>
          <pc:sldLayoutMkLst>
            <pc:docMk/>
            <pc:sldMasterMk cId="3403465013" sldId="2147483686"/>
            <pc:sldLayoutMk cId="1084912137" sldId="2147483705"/>
          </pc:sldLayoutMkLst>
        </pc:sldLayoutChg>
        <pc:sldLayoutChg chg="del">
          <pc:chgData name="Tove Martens" userId="6c0b9b62-4cda-42a0-9331-056c7cf64219" providerId="ADAL" clId="{49D268D6-866E-4AD9-9A30-D993F080FF87}" dt="2024-05-06T14:15:02.690" v="3481" actId="47"/>
          <pc:sldLayoutMkLst>
            <pc:docMk/>
            <pc:sldMasterMk cId="3403465013" sldId="2147483686"/>
            <pc:sldLayoutMk cId="2400634413" sldId="2147483707"/>
          </pc:sldLayoutMkLst>
        </pc:sldLayoutChg>
        <pc:sldLayoutChg chg="del">
          <pc:chgData name="Tove Martens" userId="6c0b9b62-4cda-42a0-9331-056c7cf64219" providerId="ADAL" clId="{49D268D6-866E-4AD9-9A30-D993F080FF87}" dt="2024-05-06T14:15:14.472" v="3482" actId="47"/>
          <pc:sldLayoutMkLst>
            <pc:docMk/>
            <pc:sldMasterMk cId="3403465013" sldId="2147483686"/>
            <pc:sldLayoutMk cId="267206982" sldId="2147483718"/>
          </pc:sldLayoutMkLst>
        </pc:sldLayoutChg>
        <pc:sldLayoutChg chg="del">
          <pc:chgData name="Tove Martens" userId="6c0b9b62-4cda-42a0-9331-056c7cf64219" providerId="ADAL" clId="{49D268D6-866E-4AD9-9A30-D993F080FF87}" dt="2024-05-06T14:15:51.166" v="3496" actId="47"/>
          <pc:sldLayoutMkLst>
            <pc:docMk/>
            <pc:sldMasterMk cId="3403465013" sldId="2147483686"/>
            <pc:sldLayoutMk cId="919419283" sldId="2147483726"/>
          </pc:sldLayoutMkLst>
        </pc:sldLayoutChg>
      </pc:sldMasterChg>
      <pc:sldMasterChg chg="del delSldLayout">
        <pc:chgData name="Tove Martens" userId="6c0b9b62-4cda-42a0-9331-056c7cf64219" providerId="ADAL" clId="{49D268D6-866E-4AD9-9A30-D993F080FF87}" dt="2024-05-06T14:15:44.585" v="3492" actId="47"/>
        <pc:sldMasterMkLst>
          <pc:docMk/>
          <pc:sldMasterMk cId="4103723219" sldId="2147483721"/>
        </pc:sldMasterMkLst>
        <pc:sldLayoutChg chg="del">
          <pc:chgData name="Tove Martens" userId="6c0b9b62-4cda-42a0-9331-056c7cf64219" providerId="ADAL" clId="{49D268D6-866E-4AD9-9A30-D993F080FF87}" dt="2024-05-06T14:15:41.837" v="3491" actId="47"/>
          <pc:sldLayoutMkLst>
            <pc:docMk/>
            <pc:sldMasterMk cId="4103723219" sldId="2147483721"/>
            <pc:sldLayoutMk cId="165637666" sldId="2147483722"/>
          </pc:sldLayoutMkLst>
        </pc:sldLayoutChg>
        <pc:sldLayoutChg chg="del">
          <pc:chgData name="Tove Martens" userId="6c0b9b62-4cda-42a0-9331-056c7cf64219" providerId="ADAL" clId="{49D268D6-866E-4AD9-9A30-D993F080FF87}" dt="2024-05-06T14:15:44.585" v="3492" actId="47"/>
          <pc:sldLayoutMkLst>
            <pc:docMk/>
            <pc:sldMasterMk cId="4103723219" sldId="2147483721"/>
            <pc:sldLayoutMk cId="142711492" sldId="2147483723"/>
          </pc:sldLayoutMkLst>
        </pc:sldLayoutChg>
        <pc:sldLayoutChg chg="del">
          <pc:chgData name="Tove Martens" userId="6c0b9b62-4cda-42a0-9331-056c7cf64219" providerId="ADAL" clId="{49D268D6-866E-4AD9-9A30-D993F080FF87}" dt="2024-05-06T14:15:44.585" v="3492" actId="47"/>
          <pc:sldLayoutMkLst>
            <pc:docMk/>
            <pc:sldMasterMk cId="4103723219" sldId="2147483721"/>
            <pc:sldLayoutMk cId="2699309281" sldId="2147483724"/>
          </pc:sldLayoutMkLst>
        </pc:sldLayoutChg>
        <pc:sldLayoutChg chg="del">
          <pc:chgData name="Tove Martens" userId="6c0b9b62-4cda-42a0-9331-056c7cf64219" providerId="ADAL" clId="{49D268D6-866E-4AD9-9A30-D993F080FF87}" dt="2024-05-06T14:15:44.585" v="3492" actId="47"/>
          <pc:sldLayoutMkLst>
            <pc:docMk/>
            <pc:sldMasterMk cId="4103723219" sldId="2147483721"/>
            <pc:sldLayoutMk cId="240211639" sldId="2147483725"/>
          </pc:sldLayoutMkLst>
        </pc:sldLayoutChg>
      </pc:sldMaster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11BDCD-71A7-49CD-A59A-BB985833116F}" type="datetimeFigureOut">
              <a:rPr lang="sv-SE" smtClean="0"/>
              <a:t>2024-05-06</a:t>
            </a:fld>
            <a:endParaRPr lang="sv-SE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sv-SE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09C5E4-89ED-4933-89EC-8DD9C3FEFF95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308328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76363082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I går lanserte vi denne ruten!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1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923919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0967A6-0D8F-4E6D-AAC9-70AAA220549B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8842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Tolga nest største kommunen </a:t>
            </a:r>
            <a:r>
              <a:rPr lang="nb-NO" dirty="0" err="1"/>
              <a:t>ifht</a:t>
            </a:r>
            <a:r>
              <a:rPr lang="nb-NO" dirty="0"/>
              <a:t> antall medlemsbedrifter!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0967A6-0D8F-4E6D-AAC9-70AAA220549B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7889598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0967A6-0D8F-4E6D-AAC9-70AAA220549B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5248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683297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1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00933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- Veldig mange flere overnattinger, ja, men det er veksten vi må se på.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1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45040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I går lanserte vi denne ruten!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1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426133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09C5E4-89ED-4933-89EC-8DD9C3FEFF95}" type="slidenum">
              <a:rPr lang="sv-SE" smtClean="0"/>
              <a:t>1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066082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svg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rgbClr val="B854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1AFA349E-8E38-1A86-9683-509F877C5ED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666095" y="975470"/>
            <a:ext cx="11716318" cy="1274053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AC2168B-921D-B78C-DC10-79868FB4B30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470" y="3827289"/>
            <a:ext cx="9200208" cy="4559582"/>
          </a:xfrm>
        </p:spPr>
        <p:txBody>
          <a:bodyPr lIns="0" tIns="0" rIns="0" bIns="0" anchor="t">
            <a:noAutofit/>
          </a:bodyPr>
          <a:lstStyle>
            <a:lvl1pPr algn="l">
              <a:lnSpc>
                <a:spcPct val="100000"/>
              </a:lnSpc>
              <a:defRPr sz="10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7716659C-33F1-54F0-9380-B26C558F4273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75470" y="912477"/>
            <a:ext cx="9182943" cy="461665"/>
          </a:xfrm>
        </p:spPr>
        <p:txBody>
          <a:bodyPr wrap="square" lIns="0" tIns="0" rIns="0" bIns="0">
            <a:sp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3000"/>
            </a:lvl1pPr>
            <a:lvl2pPr marL="914354" indent="0" algn="ctr">
              <a:buNone/>
              <a:defRPr sz="4000"/>
            </a:lvl2pPr>
            <a:lvl3pPr marL="1828709" indent="0" algn="ctr">
              <a:buNone/>
              <a:defRPr sz="3600"/>
            </a:lvl3pPr>
            <a:lvl4pPr marL="2743063" indent="0" algn="ctr">
              <a:buNone/>
              <a:defRPr sz="3200"/>
            </a:lvl4pPr>
            <a:lvl5pPr marL="3657417" indent="0" algn="ctr">
              <a:buNone/>
              <a:defRPr sz="3200"/>
            </a:lvl5pPr>
            <a:lvl6pPr marL="4571771" indent="0" algn="ctr">
              <a:buNone/>
              <a:defRPr sz="3200"/>
            </a:lvl6pPr>
            <a:lvl7pPr marL="5486126" indent="0" algn="ctr">
              <a:buNone/>
              <a:defRPr sz="3200"/>
            </a:lvl7pPr>
            <a:lvl8pPr marL="6400480" indent="0" algn="ctr">
              <a:buNone/>
              <a:defRPr sz="3200"/>
            </a:lvl8pPr>
            <a:lvl9pPr marL="7314834" indent="0" algn="ctr">
              <a:buNone/>
              <a:defRPr sz="3200"/>
            </a:lvl9pPr>
          </a:lstStyle>
          <a:p>
            <a:r>
              <a:rPr lang="nb-NO" dirty="0"/>
              <a:t>Presentation </a:t>
            </a:r>
            <a:r>
              <a:rPr lang="nb-NO" dirty="0" err="1"/>
              <a:t>audience</a:t>
            </a:r>
            <a:r>
              <a:rPr lang="nb-NO" dirty="0"/>
              <a:t> and date</a:t>
            </a:r>
            <a:endParaRPr lang="sv-SE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3FA12D45-B0C5-4D2F-BD1F-CAA5F6A404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09601FA-9460-4F6D-8750-148ABCD02DE0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2E55BB6-7508-CFD0-1D4E-A7FBBF3C69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-358290"/>
            <a:ext cx="14402" cy="15389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EFCBABD-6F8B-2AEE-16D6-903DAEFE2C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365983"/>
            <a:ext cx="14402" cy="30778"/>
          </a:xfrm>
        </p:spPr>
        <p:txBody>
          <a:bodyPr lIns="0" tIns="0" rIns="0" bIns="0"/>
          <a:lstStyle>
            <a:lvl1pPr>
              <a:defRPr sz="100"/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E8E8B4D6-979F-D2B1-6881-A43A5D947E7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6757" y="10932334"/>
            <a:ext cx="6836400" cy="2020423"/>
          </a:xfrm>
          <a:prstGeom prst="rect">
            <a:avLst/>
          </a:prstGeom>
        </p:spPr>
      </p:pic>
      <p:sp>
        <p:nvSpPr>
          <p:cNvPr id="18" name="Plassholder for tekst 17">
            <a:extLst>
              <a:ext uri="{FF2B5EF4-FFF2-40B4-BE49-F238E27FC236}">
                <a16:creationId xmlns:a16="http://schemas.microsoft.com/office/drawing/2014/main" id="{1CE54CF7-E820-7796-D131-88D58B759F0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75470" y="1435685"/>
            <a:ext cx="9200208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/>
            </a:lvl1pPr>
            <a:lvl2pPr marL="914354" indent="0">
              <a:buNone/>
              <a:defRPr sz="3000"/>
            </a:lvl2pPr>
            <a:lvl3pPr marL="1828709" indent="0">
              <a:buNone/>
              <a:defRPr sz="3000"/>
            </a:lvl3pPr>
            <a:lvl4pPr marL="2743063" indent="0">
              <a:buNone/>
              <a:defRPr sz="3000"/>
            </a:lvl4pPr>
            <a:lvl5pPr marL="3657417" indent="0">
              <a:buNone/>
              <a:defRPr sz="3000"/>
            </a:lvl5pPr>
          </a:lstStyle>
          <a:p>
            <a:pPr lvl="0"/>
            <a:r>
              <a:rPr lang="nb-NO" dirty="0"/>
              <a:t>Author </a:t>
            </a:r>
            <a:r>
              <a:rPr lang="nb-NO" dirty="0" err="1"/>
              <a:t>name</a:t>
            </a:r>
            <a:r>
              <a:rPr lang="nb-NO" dirty="0"/>
              <a:t> (</a:t>
            </a:r>
            <a:r>
              <a:rPr lang="nb-NO" dirty="0" err="1"/>
              <a:t>title</a:t>
            </a:r>
            <a:r>
              <a:rPr lang="nb-NO" dirty="0"/>
              <a:t>, </a:t>
            </a:r>
            <a:r>
              <a:rPr lang="nb-NO" dirty="0" err="1"/>
              <a:t>position</a:t>
            </a:r>
            <a:r>
              <a:rPr lang="nb-NO" dirty="0"/>
              <a:t>)</a:t>
            </a:r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B86F6AC-C0DC-3214-A066-B4C4DBEF66C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66757" y="10932334"/>
            <a:ext cx="6836400" cy="2020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62359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with illustration #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6D328FB-15C8-4558-A69A-E8A4998EBB84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  <p:pic>
        <p:nvPicPr>
          <p:cNvPr id="3" name="Grafikk 2">
            <a:extLst>
              <a:ext uri="{FF2B5EF4-FFF2-40B4-BE49-F238E27FC236}">
                <a16:creationId xmlns:a16="http://schemas.microsoft.com/office/drawing/2014/main" id="{A4354B11-3EC9-65FB-A7E6-44545FFBB71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90616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with illustration #3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7B1D864-8EB8-4516-B0C7-C21A957BF8D5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  <p:pic>
        <p:nvPicPr>
          <p:cNvPr id="3" name="Grafikk 2">
            <a:extLst>
              <a:ext uri="{FF2B5EF4-FFF2-40B4-BE49-F238E27FC236}">
                <a16:creationId xmlns:a16="http://schemas.microsoft.com/office/drawing/2014/main" id="{8D4CF688-3C20-A7F1-6FC9-A21D5259BF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7816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with illustration #4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1458BF7-C7F0-4DC7-AC85-BC15AEE903F1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  <p:pic>
        <p:nvPicPr>
          <p:cNvPr id="3" name="Grafikk 2">
            <a:extLst>
              <a:ext uri="{FF2B5EF4-FFF2-40B4-BE49-F238E27FC236}">
                <a16:creationId xmlns:a16="http://schemas.microsoft.com/office/drawing/2014/main" id="{4FE270D1-A317-DF4A-F971-E7DDB9D9D2F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47388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with illustration #5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8A533EA-DFC3-479B-B6FB-F1C27A0953A7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  <p:pic>
        <p:nvPicPr>
          <p:cNvPr id="3" name="Grafikk 2">
            <a:extLst>
              <a:ext uri="{FF2B5EF4-FFF2-40B4-BE49-F238E27FC236}">
                <a16:creationId xmlns:a16="http://schemas.microsoft.com/office/drawing/2014/main" id="{8B060AC9-93A5-00F5-BA1A-9E5880819E7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33234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14887607-82C8-7669-6803-2AD0285044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641890" y="955198"/>
            <a:ext cx="10740523" cy="12760801"/>
          </a:xfrm>
          <a:prstGeom prst="rect">
            <a:avLst/>
          </a:prstGeom>
        </p:spPr>
        <p:txBody>
          <a:bodyPr tIns="1564389"/>
          <a:lstStyle>
            <a:lvl1pPr marL="457177" indent="-457177" algn="ctr" defTabSz="1828709" rtl="0" eaLnBrk="1" latinLnBrk="0" hangingPunct="1">
              <a:lnSpc>
                <a:spcPts val="4800"/>
              </a:lnSpc>
              <a:spcBef>
                <a:spcPts val="3000"/>
              </a:spcBef>
              <a:buFont typeface="EB Garamond" panose="00000500000000000000" pitchFamily="2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23ADBF4-68DE-D4CF-C153-39F6BE20D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722" y="1281263"/>
            <a:ext cx="11214691" cy="923330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sv-SE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BFB0ADB2-27CB-B7E3-BBB4-3D0624BB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C3FF8C39-C9D6-42CB-934A-43D7A242CD2B}" type="datetime1">
              <a:rPr lang="sv-SE" smtClean="0"/>
              <a:t>2024-05-06</a:t>
            </a:fld>
            <a:endParaRPr lang="sv-SE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7984D4B-2ADA-3421-B74E-B84CB3BBA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7F15970-7201-1531-A3FC-B2EBE993C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EADB2E4-2809-4C85-B511-BAACE80F7AD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EBA20EE5-2A91-865D-93EF-85B39E8CF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722" y="3417554"/>
            <a:ext cx="11214691" cy="7821946"/>
          </a:xfrm>
        </p:spPr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664071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14887607-82C8-7669-6803-2AD0285044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3641890" y="955198"/>
            <a:ext cx="9791676" cy="11507939"/>
          </a:xfrm>
          <a:prstGeom prst="rect">
            <a:avLst/>
          </a:prstGeom>
        </p:spPr>
        <p:txBody>
          <a:bodyPr tIns="1564389"/>
          <a:lstStyle>
            <a:lvl1pPr marL="457177" indent="-457177" algn="ctr" defTabSz="1828709" rtl="0" eaLnBrk="1" latinLnBrk="0" hangingPunct="1">
              <a:lnSpc>
                <a:spcPts val="4800"/>
              </a:lnSpc>
              <a:spcBef>
                <a:spcPts val="3000"/>
              </a:spcBef>
              <a:buFont typeface="EB Garamond" panose="00000500000000000000" pitchFamily="2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23ADBF4-68DE-D4CF-C153-39F6BE20D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722" y="1281263"/>
            <a:ext cx="11214691" cy="923330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sv-SE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BFB0ADB2-27CB-B7E3-BBB4-3D0624BB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ACE71365-1FE0-45B3-AD7A-C23D73DE7C5B}" type="datetime1">
              <a:rPr lang="sv-SE" smtClean="0"/>
              <a:t>2024-05-06</a:t>
            </a:fld>
            <a:endParaRPr lang="sv-SE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7984D4B-2ADA-3421-B74E-B84CB3BBA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7F15970-7201-1531-A3FC-B2EBE993C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EADB2E4-2809-4C85-B511-BAACE80F7AD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EBA20EE5-2A91-865D-93EF-85B39E8CF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722" y="3417554"/>
            <a:ext cx="11214691" cy="7821946"/>
          </a:xfrm>
        </p:spPr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154511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fram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8">
            <a:extLst>
              <a:ext uri="{FF2B5EF4-FFF2-40B4-BE49-F238E27FC236}">
                <a16:creationId xmlns:a16="http://schemas.microsoft.com/office/drawing/2014/main" id="{14887607-82C8-7669-6803-2AD02850446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7543806" y="955198"/>
            <a:ext cx="5880939" cy="5547609"/>
          </a:xfrm>
          <a:prstGeom prst="rect">
            <a:avLst/>
          </a:prstGeom>
        </p:spPr>
        <p:txBody>
          <a:bodyPr tIns="1564389"/>
          <a:lstStyle>
            <a:lvl1pPr marL="457177" indent="-457177" algn="ctr" defTabSz="1828709" rtl="0" eaLnBrk="1" latinLnBrk="0" hangingPunct="1">
              <a:lnSpc>
                <a:spcPts val="4800"/>
              </a:lnSpc>
              <a:spcBef>
                <a:spcPts val="3000"/>
              </a:spcBef>
              <a:buFont typeface="EB Garamond" panose="00000500000000000000" pitchFamily="2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523ADBF4-68DE-D4CF-C153-39F6BE20DF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722" y="1281263"/>
            <a:ext cx="15278691" cy="923330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  <a:endParaRPr lang="sv-SE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BFB0ADB2-27CB-B7E3-BBB4-3D0624BBBD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37AE19D-5ADE-496C-8DB0-9CB112B3CD96}" type="datetime1">
              <a:rPr lang="sv-SE" smtClean="0"/>
              <a:t>2024-05-06</a:t>
            </a:fld>
            <a:endParaRPr lang="sv-SE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27984D4B-2ADA-3421-B74E-B84CB3BBA2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A7F15970-7201-1531-A3FC-B2EBE993CD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EADB2E4-2809-4C85-B511-BAACE80F7AD9}" type="slidenum">
              <a:rPr lang="sv-SE" smtClean="0"/>
              <a:t>‹#›</a:t>
            </a:fld>
            <a:endParaRPr lang="sv-SE"/>
          </a:p>
        </p:txBody>
      </p:sp>
      <p:sp>
        <p:nvSpPr>
          <p:cNvPr id="8" name="Plassholder for innhold 2">
            <a:extLst>
              <a:ext uri="{FF2B5EF4-FFF2-40B4-BE49-F238E27FC236}">
                <a16:creationId xmlns:a16="http://schemas.microsoft.com/office/drawing/2014/main" id="{EBA20EE5-2A91-865D-93EF-85B39E8CF6A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75722" y="3417554"/>
            <a:ext cx="15278691" cy="7821946"/>
          </a:xfrm>
        </p:spPr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  <a:lvl2pPr>
              <a:defRPr>
                <a:solidFill>
                  <a:schemeClr val="dk1"/>
                </a:solidFill>
              </a:defRPr>
            </a:lvl2pPr>
            <a:lvl3pPr>
              <a:defRPr>
                <a:solidFill>
                  <a:schemeClr val="dk1"/>
                </a:solidFill>
              </a:defRPr>
            </a:lvl3pPr>
            <a:lvl4pPr>
              <a:defRPr>
                <a:solidFill>
                  <a:schemeClr val="dk1"/>
                </a:solidFill>
              </a:defRPr>
            </a:lvl4pPr>
            <a:lvl5pPr>
              <a:defRPr>
                <a:solidFill>
                  <a:schemeClr val="dk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sv-SE" dirty="0"/>
          </a:p>
        </p:txBody>
      </p:sp>
      <p:sp>
        <p:nvSpPr>
          <p:cNvPr id="3" name="Plassholder for bilde 8">
            <a:extLst>
              <a:ext uri="{FF2B5EF4-FFF2-40B4-BE49-F238E27FC236}">
                <a16:creationId xmlns:a16="http://schemas.microsoft.com/office/drawing/2014/main" id="{905C7A84-9AAF-2EA8-CA0A-4A52BDD2C20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7543808" y="6910812"/>
            <a:ext cx="5880939" cy="5547609"/>
          </a:xfrm>
          <a:prstGeom prst="rect">
            <a:avLst/>
          </a:prstGeom>
        </p:spPr>
        <p:txBody>
          <a:bodyPr tIns="1564389"/>
          <a:lstStyle>
            <a:lvl1pPr marL="457177" indent="-457177" algn="ctr" defTabSz="1828709" rtl="0" eaLnBrk="1" latinLnBrk="0" hangingPunct="1">
              <a:lnSpc>
                <a:spcPts val="4800"/>
              </a:lnSpc>
              <a:spcBef>
                <a:spcPts val="3000"/>
              </a:spcBef>
              <a:buFont typeface="EB Garamond" panose="00000500000000000000" pitchFamily="2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794606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533A21C3-8E52-4A98-85BB-56831CAB3D3F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Plassholder for bilde 14">
            <a:extLst>
              <a:ext uri="{FF2B5EF4-FFF2-40B4-BE49-F238E27FC236}">
                <a16:creationId xmlns:a16="http://schemas.microsoft.com/office/drawing/2014/main" id="{1F6DCB07-7BB1-8DD4-57DC-BFEF48CEDC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2401659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 page">
    <p:bg>
      <p:bgPr>
        <a:solidFill>
          <a:srgbClr val="B854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2DAC13-3357-C8AD-357F-4A336E36F5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5722" y="837949"/>
            <a:ext cx="22390691" cy="1538883"/>
          </a:xfrm>
        </p:spPr>
        <p:txBody>
          <a:bodyPr/>
          <a:lstStyle>
            <a:lvl1pPr>
              <a:lnSpc>
                <a:spcPct val="100000"/>
              </a:lnSpc>
              <a:defRPr sz="10000" b="0" spc="-250" baseline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 dirty="0"/>
              <a:t>Takk for meg!</a:t>
            </a:r>
            <a:endParaRPr lang="sv-SE" dirty="0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9D8B9236-C57D-EA77-36DF-47C139D87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8A6E2B-BC70-4A13-BF9C-09A2509953A9}" type="datetime1">
              <a:rPr lang="sv-SE" smtClean="0"/>
              <a:t>2024-05-06</a:t>
            </a:fld>
            <a:endParaRPr lang="sv-SE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D479FA12-F3AC-0157-34D9-D7C333BFE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9753A996-4617-4D33-D6E5-C6A6F711E8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70" y="6311625"/>
            <a:ext cx="22444810" cy="6675036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25954F34-8412-3F31-4AA8-715E9913DAF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975722" y="2921386"/>
            <a:ext cx="10588865" cy="46166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/>
            </a:lvl1pPr>
            <a:lvl2pPr marL="914354" indent="0">
              <a:lnSpc>
                <a:spcPct val="100000"/>
              </a:lnSpc>
              <a:spcBef>
                <a:spcPts val="0"/>
              </a:spcBef>
              <a:buNone/>
              <a:defRPr sz="3000"/>
            </a:lvl2pPr>
            <a:lvl3pPr marL="1828709" indent="0">
              <a:lnSpc>
                <a:spcPct val="100000"/>
              </a:lnSpc>
              <a:spcBef>
                <a:spcPts val="0"/>
              </a:spcBef>
              <a:buNone/>
              <a:defRPr sz="3000"/>
            </a:lvl3pPr>
            <a:lvl4pPr marL="2743063" indent="0">
              <a:lnSpc>
                <a:spcPct val="100000"/>
              </a:lnSpc>
              <a:spcBef>
                <a:spcPts val="0"/>
              </a:spcBef>
              <a:buNone/>
              <a:defRPr sz="3000"/>
            </a:lvl4pPr>
            <a:lvl5pPr marL="3657417" indent="0">
              <a:lnSpc>
                <a:spcPct val="100000"/>
              </a:lnSpc>
              <a:spcBef>
                <a:spcPts val="0"/>
              </a:spcBef>
              <a:buNone/>
              <a:defRPr sz="3000"/>
            </a:lvl5pPr>
          </a:lstStyle>
          <a:p>
            <a:pPr lvl="0"/>
            <a:r>
              <a:rPr lang="nb-NO" dirty="0"/>
              <a:t>Author </a:t>
            </a:r>
            <a:r>
              <a:rPr lang="nb-NO" dirty="0" err="1"/>
              <a:t>name</a:t>
            </a:r>
            <a:endParaRPr lang="nb-NO" dirty="0"/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084CFAC0-48EB-8C98-5321-C8351D522F6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75470" y="3386923"/>
            <a:ext cx="10588865" cy="46166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/>
            </a:lvl1pPr>
            <a:lvl2pPr marL="914354" indent="0">
              <a:lnSpc>
                <a:spcPct val="100000"/>
              </a:lnSpc>
              <a:spcBef>
                <a:spcPts val="0"/>
              </a:spcBef>
              <a:buNone/>
              <a:defRPr sz="3000"/>
            </a:lvl2pPr>
            <a:lvl3pPr marL="1828709" indent="0">
              <a:lnSpc>
                <a:spcPct val="100000"/>
              </a:lnSpc>
              <a:spcBef>
                <a:spcPts val="0"/>
              </a:spcBef>
              <a:buNone/>
              <a:defRPr sz="3000"/>
            </a:lvl3pPr>
            <a:lvl4pPr marL="2743063" indent="0">
              <a:lnSpc>
                <a:spcPct val="100000"/>
              </a:lnSpc>
              <a:spcBef>
                <a:spcPts val="0"/>
              </a:spcBef>
              <a:buNone/>
              <a:defRPr sz="3000"/>
            </a:lvl4pPr>
            <a:lvl5pPr marL="3657417" indent="0">
              <a:lnSpc>
                <a:spcPct val="100000"/>
              </a:lnSpc>
              <a:spcBef>
                <a:spcPts val="0"/>
              </a:spcBef>
              <a:buNone/>
              <a:defRPr sz="3000"/>
            </a:lvl5pPr>
          </a:lstStyle>
          <a:p>
            <a:pPr lvl="0"/>
            <a:r>
              <a:rPr lang="nb-NO" dirty="0"/>
              <a:t>(</a:t>
            </a:r>
            <a:r>
              <a:rPr lang="nb-NO" dirty="0" err="1"/>
              <a:t>Title</a:t>
            </a:r>
            <a:r>
              <a:rPr lang="nb-NO" dirty="0"/>
              <a:t>/</a:t>
            </a:r>
            <a:r>
              <a:rPr lang="nb-NO" dirty="0" err="1"/>
              <a:t>position</a:t>
            </a:r>
            <a:r>
              <a:rPr lang="nb-NO" dirty="0"/>
              <a:t>)</a:t>
            </a:r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102FE7EE-AFA2-4D65-FB2B-010315452CD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75470" y="3842395"/>
            <a:ext cx="10588865" cy="46166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/>
            </a:lvl1pPr>
            <a:lvl2pPr marL="914354" indent="0">
              <a:lnSpc>
                <a:spcPct val="100000"/>
              </a:lnSpc>
              <a:spcBef>
                <a:spcPts val="0"/>
              </a:spcBef>
              <a:buNone/>
              <a:defRPr sz="3000"/>
            </a:lvl2pPr>
            <a:lvl3pPr marL="1828709" indent="0">
              <a:lnSpc>
                <a:spcPct val="100000"/>
              </a:lnSpc>
              <a:spcBef>
                <a:spcPts val="0"/>
              </a:spcBef>
              <a:buNone/>
              <a:defRPr sz="3000"/>
            </a:lvl3pPr>
            <a:lvl4pPr marL="2743063" indent="0">
              <a:lnSpc>
                <a:spcPct val="100000"/>
              </a:lnSpc>
              <a:spcBef>
                <a:spcPts val="0"/>
              </a:spcBef>
              <a:buNone/>
              <a:defRPr sz="3000"/>
            </a:lvl4pPr>
            <a:lvl5pPr marL="3657417" indent="0">
              <a:lnSpc>
                <a:spcPct val="100000"/>
              </a:lnSpc>
              <a:spcBef>
                <a:spcPts val="0"/>
              </a:spcBef>
              <a:buNone/>
              <a:defRPr sz="3000"/>
            </a:lvl5pPr>
          </a:lstStyle>
          <a:p>
            <a:pPr lvl="0"/>
            <a:r>
              <a:rPr lang="nb-NO" dirty="0"/>
              <a:t>email@visitroros.no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F3BAA49-0E7C-0C98-AF8C-A2A38F4311B2}"/>
              </a:ext>
            </a:extLst>
          </p:cNvPr>
          <p:cNvSpPr txBox="1"/>
          <p:nvPr/>
        </p:nvSpPr>
        <p:spPr>
          <a:xfrm>
            <a:off x="975470" y="4751561"/>
            <a:ext cx="5334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3000" dirty="0"/>
              <a:t>www.roros.no</a:t>
            </a:r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69C5ADBF-0BFB-9C2F-EF55-4EE4A5D82D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70" y="6311625"/>
            <a:ext cx="22444810" cy="6675036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5651C0A3-0F44-06C7-9681-B9D90058EED3}"/>
              </a:ext>
            </a:extLst>
          </p:cNvPr>
          <p:cNvSpPr txBox="1"/>
          <p:nvPr userDrawn="1"/>
        </p:nvSpPr>
        <p:spPr>
          <a:xfrm>
            <a:off x="975470" y="4751561"/>
            <a:ext cx="5334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3000" dirty="0"/>
              <a:t>www.roros.no</a:t>
            </a:r>
          </a:p>
        </p:txBody>
      </p:sp>
    </p:spTree>
    <p:extLst>
      <p:ext uri="{BB962C8B-B14F-4D97-AF65-F5344CB8AC3E}">
        <p14:creationId xmlns:p14="http://schemas.microsoft.com/office/powerpoint/2010/main" val="1533134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with illustration #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40EE3F9-7C0E-43AC-8ED4-532EB7BA2011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938915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bg>
      <p:bgPr>
        <a:solidFill>
          <a:srgbClr val="B854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5E8CFDF-10C1-AC5E-BF44-41E2229A8D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16345F1-D148-B9EE-72A7-577B7BBD3B7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sv-SE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0069F86-9B9D-29A3-B191-2CCB8448CB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9289FF4-CDA6-4CF7-A769-6BD038D99205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62A67C87-688B-47D7-EA32-B03621167C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C2AB6F39-9ADC-44BB-78E0-CC9346B28F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4EADB2E4-2809-4C85-B511-BAACE80F7AD9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63380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with illustration #2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06D328FB-15C8-4558-A69A-E8A4998EBB84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55348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with illustration #3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D7B1D864-8EB8-4516-B0C7-C21A957BF8D5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29345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with illustration #4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1458BF7-C7F0-4DC7-AC85-BC15AEE903F1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35075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hapter slide with illustration #5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8A533EA-DFC3-479B-B6FB-F1C27A0953A7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33433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page">
    <p:bg>
      <p:bgPr>
        <a:solidFill>
          <a:srgbClr val="B8542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B2DAC13-3357-C8AD-357F-4A336E36F5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5722" y="837949"/>
            <a:ext cx="22390691" cy="1538883"/>
          </a:xfrm>
        </p:spPr>
        <p:txBody>
          <a:bodyPr/>
          <a:lstStyle>
            <a:lvl1pPr>
              <a:lnSpc>
                <a:spcPct val="100000"/>
              </a:lnSpc>
              <a:defRPr sz="10000" b="0" spc="-250" baseline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 dirty="0"/>
              <a:t>Takk for meg!</a:t>
            </a:r>
            <a:endParaRPr lang="sv-SE" dirty="0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9D8B9236-C57D-EA77-36DF-47C139D87B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8A6E2B-BC70-4A13-BF9C-09A2509953A9}" type="datetime1">
              <a:rPr lang="sv-SE" smtClean="0"/>
              <a:t>2024-05-06</a:t>
            </a:fld>
            <a:endParaRPr lang="sv-SE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D479FA12-F3AC-0157-34D9-D7C333BFE6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9753A996-4617-4D33-D6E5-C6A6F711E8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75470" y="6311625"/>
            <a:ext cx="22444810" cy="6675036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25954F34-8412-3F31-4AA8-715E9913DAF1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975722" y="2921386"/>
            <a:ext cx="10588865" cy="46166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 b="1"/>
            </a:lvl1pPr>
            <a:lvl2pPr marL="914354" indent="0">
              <a:lnSpc>
                <a:spcPct val="100000"/>
              </a:lnSpc>
              <a:spcBef>
                <a:spcPts val="0"/>
              </a:spcBef>
              <a:buNone/>
              <a:defRPr sz="3000"/>
            </a:lvl2pPr>
            <a:lvl3pPr marL="1828709" indent="0">
              <a:lnSpc>
                <a:spcPct val="100000"/>
              </a:lnSpc>
              <a:spcBef>
                <a:spcPts val="0"/>
              </a:spcBef>
              <a:buNone/>
              <a:defRPr sz="3000"/>
            </a:lvl3pPr>
            <a:lvl4pPr marL="2743063" indent="0">
              <a:lnSpc>
                <a:spcPct val="100000"/>
              </a:lnSpc>
              <a:spcBef>
                <a:spcPts val="0"/>
              </a:spcBef>
              <a:buNone/>
              <a:defRPr sz="3000"/>
            </a:lvl4pPr>
            <a:lvl5pPr marL="3657417" indent="0">
              <a:lnSpc>
                <a:spcPct val="100000"/>
              </a:lnSpc>
              <a:spcBef>
                <a:spcPts val="0"/>
              </a:spcBef>
              <a:buNone/>
              <a:defRPr sz="3000"/>
            </a:lvl5pPr>
          </a:lstStyle>
          <a:p>
            <a:pPr lvl="0"/>
            <a:r>
              <a:rPr lang="nb-NO" dirty="0"/>
              <a:t>Author </a:t>
            </a:r>
            <a:r>
              <a:rPr lang="nb-NO" dirty="0" err="1"/>
              <a:t>name</a:t>
            </a:r>
            <a:endParaRPr lang="nb-NO" dirty="0"/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084CFAC0-48EB-8C98-5321-C8351D522F69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75470" y="3386923"/>
            <a:ext cx="10588865" cy="46166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/>
            </a:lvl1pPr>
            <a:lvl2pPr marL="914354" indent="0">
              <a:lnSpc>
                <a:spcPct val="100000"/>
              </a:lnSpc>
              <a:spcBef>
                <a:spcPts val="0"/>
              </a:spcBef>
              <a:buNone/>
              <a:defRPr sz="3000"/>
            </a:lvl2pPr>
            <a:lvl3pPr marL="1828709" indent="0">
              <a:lnSpc>
                <a:spcPct val="100000"/>
              </a:lnSpc>
              <a:spcBef>
                <a:spcPts val="0"/>
              </a:spcBef>
              <a:buNone/>
              <a:defRPr sz="3000"/>
            </a:lvl3pPr>
            <a:lvl4pPr marL="2743063" indent="0">
              <a:lnSpc>
                <a:spcPct val="100000"/>
              </a:lnSpc>
              <a:spcBef>
                <a:spcPts val="0"/>
              </a:spcBef>
              <a:buNone/>
              <a:defRPr sz="3000"/>
            </a:lvl4pPr>
            <a:lvl5pPr marL="3657417" indent="0">
              <a:lnSpc>
                <a:spcPct val="100000"/>
              </a:lnSpc>
              <a:spcBef>
                <a:spcPts val="0"/>
              </a:spcBef>
              <a:buNone/>
              <a:defRPr sz="3000"/>
            </a:lvl5pPr>
          </a:lstStyle>
          <a:p>
            <a:pPr lvl="0"/>
            <a:r>
              <a:rPr lang="nb-NO" dirty="0"/>
              <a:t>(</a:t>
            </a:r>
            <a:r>
              <a:rPr lang="nb-NO" dirty="0" err="1"/>
              <a:t>Title</a:t>
            </a:r>
            <a:r>
              <a:rPr lang="nb-NO" dirty="0"/>
              <a:t>/</a:t>
            </a:r>
            <a:r>
              <a:rPr lang="nb-NO" dirty="0" err="1"/>
              <a:t>position</a:t>
            </a:r>
            <a:r>
              <a:rPr lang="nb-NO" dirty="0"/>
              <a:t>)</a:t>
            </a:r>
          </a:p>
        </p:txBody>
      </p:sp>
      <p:sp>
        <p:nvSpPr>
          <p:cNvPr id="12" name="Plassholder for tekst 9">
            <a:extLst>
              <a:ext uri="{FF2B5EF4-FFF2-40B4-BE49-F238E27FC236}">
                <a16:creationId xmlns:a16="http://schemas.microsoft.com/office/drawing/2014/main" id="{102FE7EE-AFA2-4D65-FB2B-010315452CDE}"/>
              </a:ext>
            </a:extLst>
          </p:cNvPr>
          <p:cNvSpPr>
            <a:spLocks noGrp="1"/>
          </p:cNvSpPr>
          <p:nvPr>
            <p:ph type="body" idx="14" hasCustomPrompt="1"/>
          </p:nvPr>
        </p:nvSpPr>
        <p:spPr>
          <a:xfrm>
            <a:off x="975470" y="3842395"/>
            <a:ext cx="10588865" cy="461665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000"/>
            </a:lvl1pPr>
            <a:lvl2pPr marL="914354" indent="0">
              <a:lnSpc>
                <a:spcPct val="100000"/>
              </a:lnSpc>
              <a:spcBef>
                <a:spcPts val="0"/>
              </a:spcBef>
              <a:buNone/>
              <a:defRPr sz="3000"/>
            </a:lvl2pPr>
            <a:lvl3pPr marL="1828709" indent="0">
              <a:lnSpc>
                <a:spcPct val="100000"/>
              </a:lnSpc>
              <a:spcBef>
                <a:spcPts val="0"/>
              </a:spcBef>
              <a:buNone/>
              <a:defRPr sz="3000"/>
            </a:lvl3pPr>
            <a:lvl4pPr marL="2743063" indent="0">
              <a:lnSpc>
                <a:spcPct val="100000"/>
              </a:lnSpc>
              <a:spcBef>
                <a:spcPts val="0"/>
              </a:spcBef>
              <a:buNone/>
              <a:defRPr sz="3000"/>
            </a:lvl4pPr>
            <a:lvl5pPr marL="3657417" indent="0">
              <a:lnSpc>
                <a:spcPct val="100000"/>
              </a:lnSpc>
              <a:spcBef>
                <a:spcPts val="0"/>
              </a:spcBef>
              <a:buNone/>
              <a:defRPr sz="3000"/>
            </a:lvl5pPr>
          </a:lstStyle>
          <a:p>
            <a:pPr lvl="0"/>
            <a:r>
              <a:rPr lang="nb-NO" dirty="0"/>
              <a:t>email@visitroros.no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CF3BAA49-0E7C-0C98-AF8C-A2A38F4311B2}"/>
              </a:ext>
            </a:extLst>
          </p:cNvPr>
          <p:cNvSpPr txBox="1"/>
          <p:nvPr userDrawn="1"/>
        </p:nvSpPr>
        <p:spPr>
          <a:xfrm>
            <a:off x="975470" y="4751561"/>
            <a:ext cx="5334000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sv-SE" sz="3000" dirty="0"/>
              <a:t>www.roros.no</a:t>
            </a:r>
          </a:p>
        </p:txBody>
      </p:sp>
    </p:spTree>
    <p:extLst>
      <p:ext uri="{BB962C8B-B14F-4D97-AF65-F5344CB8AC3E}">
        <p14:creationId xmlns:p14="http://schemas.microsoft.com/office/powerpoint/2010/main" val="25267993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679468" y="2268141"/>
            <a:ext cx="7863962" cy="1846659"/>
          </a:xfrm>
        </p:spPr>
        <p:txBody>
          <a:bodyPr anchor="b"/>
          <a:lstStyle>
            <a:lvl1pPr>
              <a:defRPr sz="6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0365701" y="1974851"/>
            <a:ext cx="12343597" cy="9747250"/>
          </a:xfrm>
        </p:spPr>
        <p:txBody>
          <a:bodyPr/>
          <a:lstStyle>
            <a:lvl1pPr marL="0" indent="0">
              <a:buNone/>
              <a:defRPr sz="6400"/>
            </a:lvl1pPr>
            <a:lvl2pPr marL="914354" indent="0">
              <a:buNone/>
              <a:defRPr sz="5600"/>
            </a:lvl2pPr>
            <a:lvl3pPr marL="1828709" indent="0">
              <a:buNone/>
              <a:defRPr sz="4800"/>
            </a:lvl3pPr>
            <a:lvl4pPr marL="2743063" indent="0">
              <a:buNone/>
              <a:defRPr sz="4000"/>
            </a:lvl4pPr>
            <a:lvl5pPr marL="3657417" indent="0">
              <a:buNone/>
              <a:defRPr sz="4000"/>
            </a:lvl5pPr>
            <a:lvl6pPr marL="4571771" indent="0">
              <a:buNone/>
              <a:defRPr sz="4000"/>
            </a:lvl6pPr>
            <a:lvl7pPr marL="5486126" indent="0">
              <a:buNone/>
              <a:defRPr sz="4000"/>
            </a:lvl7pPr>
            <a:lvl8pPr marL="6400480" indent="0">
              <a:buNone/>
              <a:defRPr sz="4000"/>
            </a:lvl8pPr>
            <a:lvl9pPr marL="7314834" indent="0">
              <a:buNone/>
              <a:defRPr sz="4000"/>
            </a:lvl9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679468" y="4114800"/>
            <a:ext cx="7863962" cy="7623176"/>
          </a:xfrm>
        </p:spPr>
        <p:txBody>
          <a:bodyPr/>
          <a:lstStyle>
            <a:lvl1pPr marL="0" indent="0">
              <a:buNone/>
              <a:defRPr sz="3200"/>
            </a:lvl1pPr>
            <a:lvl2pPr marL="914354" indent="0">
              <a:buNone/>
              <a:defRPr sz="2800"/>
            </a:lvl2pPr>
            <a:lvl3pPr marL="1828709" indent="0">
              <a:buNone/>
              <a:defRPr sz="2400"/>
            </a:lvl3pPr>
            <a:lvl4pPr marL="2743063" indent="0">
              <a:buNone/>
              <a:defRPr sz="2000"/>
            </a:lvl4pPr>
            <a:lvl5pPr marL="3657417" indent="0">
              <a:buNone/>
              <a:defRPr sz="2000"/>
            </a:lvl5pPr>
            <a:lvl6pPr marL="4571771" indent="0">
              <a:buNone/>
              <a:defRPr sz="2000"/>
            </a:lvl6pPr>
            <a:lvl7pPr marL="5486126" indent="0">
              <a:buNone/>
              <a:defRPr sz="2000"/>
            </a:lvl7pPr>
            <a:lvl8pPr marL="6400480" indent="0">
              <a:buNone/>
              <a:defRPr sz="2000"/>
            </a:lvl8pPr>
            <a:lvl9pPr marL="7314834" indent="0">
              <a:buNone/>
              <a:defRPr sz="2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4999532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depanel og innhold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7D75EB-BD23-FF4F-80AE-955DA86030AC}" type="slidenum">
              <a:rPr lang="nb-NO" smtClean="0"/>
              <a:t>‹#›</a:t>
            </a:fld>
            <a:endParaRPr lang="nb-NO"/>
          </a:p>
        </p:txBody>
      </p:sp>
      <p:sp>
        <p:nvSpPr>
          <p:cNvPr id="3" name="Rektangel 2">
            <a:extLst>
              <a:ext uri="{FF2B5EF4-FFF2-40B4-BE49-F238E27FC236}">
                <a16:creationId xmlns:a16="http://schemas.microsoft.com/office/drawing/2014/main" id="{E815AC04-283B-E048-BE37-B533815ACF19}"/>
              </a:ext>
            </a:extLst>
          </p:cNvPr>
          <p:cNvSpPr/>
          <p:nvPr userDrawn="1"/>
        </p:nvSpPr>
        <p:spPr>
          <a:xfrm>
            <a:off x="3" y="0"/>
            <a:ext cx="8251365" cy="13716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56" tIns="91428" rIns="182856" bIns="9142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7200" b="0" i="0">
              <a:latin typeface="Calibri" panose="020F0502020204030204" pitchFamily="34" charset="0"/>
              <a:ea typeface="Arial" charset="0"/>
              <a:cs typeface="Calibri" panose="020F0502020204030204" pitchFamily="34" charset="0"/>
            </a:endParaRP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4E32E366-1830-C748-98FF-1D794FD4E84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alphaModFix amt="38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"/>
            <a:ext cx="5009146" cy="484191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80991" y="1600046"/>
            <a:ext cx="7087997" cy="73096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8">
            <a:extLst>
              <a:ext uri="{FF2B5EF4-FFF2-40B4-BE49-F238E27FC236}">
                <a16:creationId xmlns:a16="http://schemas.microsoft.com/office/drawing/2014/main" id="{D4F2380F-AA10-0C44-9EEC-16AE41BF005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987844" y="1406529"/>
            <a:ext cx="14518329" cy="10458450"/>
          </a:xfrm>
        </p:spPr>
        <p:txBody>
          <a:bodyPr>
            <a:normAutofit/>
          </a:bodyPr>
          <a:lstStyle>
            <a:lvl1pPr marL="0" indent="0">
              <a:buNone/>
              <a:defRPr sz="4000"/>
            </a:lvl1pPr>
            <a:lvl2pPr marL="914308" indent="0">
              <a:buNone/>
              <a:defRPr/>
            </a:lvl2pPr>
          </a:lstStyle>
          <a:p>
            <a:pPr lvl="0"/>
            <a:r>
              <a:rPr lang="nb-NO"/>
              <a:t>Sett inn bilde, diagram, video, tabell </a:t>
            </a:r>
            <a:r>
              <a:rPr lang="nb-NO" err="1"/>
              <a:t>etc</a:t>
            </a:r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D3940224-A7C9-3A43-AFA8-6C153A9679D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88" y="4594226"/>
            <a:ext cx="7088691" cy="7716720"/>
          </a:xfrm>
        </p:spPr>
        <p:txBody>
          <a:bodyPr>
            <a:normAutofit/>
          </a:bodyPr>
          <a:lstStyle>
            <a:lvl1pPr marL="685732" indent="-685732">
              <a:buClr>
                <a:schemeClr val="bg1"/>
              </a:buClr>
              <a:buSzPct val="100000"/>
              <a:buFont typeface="Courier New" panose="02070309020205020404" pitchFamily="49" charset="0"/>
              <a:buChar char="o"/>
              <a:defRPr sz="4000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36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</p:spTree>
    <p:extLst>
      <p:ext uri="{BB962C8B-B14F-4D97-AF65-F5344CB8AC3E}">
        <p14:creationId xmlns:p14="http://schemas.microsoft.com/office/powerpoint/2010/main" val="3309968420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og tekst-forsla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FFCC76FE-8A9F-4357-B25D-B3E545F026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9644" y="-2"/>
            <a:ext cx="9061556" cy="13716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878807" y="549278"/>
            <a:ext cx="13120058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887101" y="3200403"/>
            <a:ext cx="13073005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06096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ksempel fors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EC70C20D-D2FF-4953-98E1-04296D6DB2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2" y="1"/>
            <a:ext cx="24382413" cy="1223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596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ksempel for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A5D2FFB6-F359-4446-B639-FBEDD2CB9CC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1"/>
            <a:ext cx="24382415" cy="12234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9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4">
            <a:extLst>
              <a:ext uri="{FF2B5EF4-FFF2-40B4-BE49-F238E27FC236}">
                <a16:creationId xmlns:a16="http://schemas.microsoft.com/office/drawing/2014/main" id="{A7361502-BAF6-63E6-4F66-134460A837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sv-SE" dirty="0" err="1"/>
              <a:t>Insert</a:t>
            </a:r>
            <a:r>
              <a:rPr lang="sv-SE" dirty="0"/>
              <a:t> </a:t>
            </a:r>
            <a:r>
              <a:rPr lang="sv-SE" dirty="0" err="1"/>
              <a:t>picture</a:t>
            </a:r>
            <a:r>
              <a:rPr lang="sv-SE" dirty="0"/>
              <a:t> </a:t>
            </a:r>
            <a:r>
              <a:rPr lang="sv-SE" dirty="0" err="1"/>
              <a:t>here</a:t>
            </a:r>
            <a:r>
              <a:rPr lang="sv-SE" dirty="0"/>
              <a:t> via ”</a:t>
            </a:r>
            <a:r>
              <a:rPr lang="sv-SE" dirty="0" err="1"/>
              <a:t>Insert</a:t>
            </a:r>
            <a:r>
              <a:rPr lang="sv-SE" dirty="0"/>
              <a:t>” -&gt; ”Picture”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51B796B-DBFC-8C76-40B5-6CDB629DA0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5470" y="4423195"/>
            <a:ext cx="17310943" cy="461664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0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 dirty="0" err="1"/>
              <a:t>Quote</a:t>
            </a:r>
            <a:endParaRPr lang="sv-SE" dirty="0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9825254-6D22-778D-6029-452DC6890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F51E71-AF8C-41F4-B317-37B016625C5A}" type="datetime1">
              <a:rPr lang="sv-SE" smtClean="0"/>
              <a:t>2024-05-06</a:t>
            </a:fld>
            <a:endParaRPr lang="sv-SE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177A564-7C60-5AFF-3B27-47A2FFE172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C094215-C1DD-2E2C-CC27-4B6F9A522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1" name="Plassholder for tekst 10">
            <a:extLst>
              <a:ext uri="{FF2B5EF4-FFF2-40B4-BE49-F238E27FC236}">
                <a16:creationId xmlns:a16="http://schemas.microsoft.com/office/drawing/2014/main" id="{0DF536E7-0D92-9CDD-A1F6-468BE0B44E6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70" y="11938660"/>
            <a:ext cx="3423600" cy="101817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109930011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99529" y="549278"/>
            <a:ext cx="21944172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99529" y="3200403"/>
            <a:ext cx="21944172" cy="9051926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653307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99529" y="549278"/>
            <a:ext cx="21944172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99529" y="3200403"/>
            <a:ext cx="10768899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12394393" y="3200403"/>
            <a:ext cx="10768899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135676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1" y="0"/>
            <a:ext cx="11423170" cy="13716000"/>
          </a:xfrm>
          <a:noFill/>
        </p:spPr>
        <p:txBody>
          <a:bodyPr anchor="ctr">
            <a:normAutofit/>
          </a:bodyPr>
          <a:lstStyle>
            <a:lvl1pPr>
              <a:defRPr sz="5334" b="0" u="none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Objekt/bilde </a:t>
            </a:r>
          </a:p>
          <a:p>
            <a:pPr lvl="0"/>
            <a:r>
              <a:rPr lang="nb-NO"/>
              <a:t>Gjerne på hvit bakgrunn, </a:t>
            </a:r>
            <a:br>
              <a:rPr lang="nb-NO"/>
            </a:br>
            <a:r>
              <a:rPr lang="nb-NO"/>
              <a:t>eller som fyller hele bilderammen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2191207" y="549278"/>
            <a:ext cx="10807659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2191207" y="3200403"/>
            <a:ext cx="10768899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46364155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-forslag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>
            <a:extLst>
              <a:ext uri="{FF2B5EF4-FFF2-40B4-BE49-F238E27FC236}">
                <a16:creationId xmlns:a16="http://schemas.microsoft.com/office/drawing/2014/main" id="{556689D5-A1C6-4B53-8664-1D6A9A5475B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9644" y="1"/>
            <a:ext cx="9072419" cy="13732442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878807" y="549278"/>
            <a:ext cx="13120058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887101" y="3200403"/>
            <a:ext cx="13073005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2870644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-forsla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FFCC76FE-8A9F-4357-B25D-B3E545F026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9644" y="-2"/>
            <a:ext cx="9061556" cy="13716000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878807" y="549278"/>
            <a:ext cx="13120058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887101" y="3200403"/>
            <a:ext cx="13073005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742132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ilde og tekst-forslag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D0AF1FEA-7E11-44FF-B42F-11CCB71B75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79642" y="3"/>
            <a:ext cx="9072415" cy="13715998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878807" y="549278"/>
            <a:ext cx="13120058" cy="22860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887101" y="3200403"/>
            <a:ext cx="13073005" cy="9051926"/>
          </a:xfrm>
        </p:spPr>
        <p:txBody>
          <a:bodyPr>
            <a:normAutofit/>
          </a:bodyPr>
          <a:lstStyle>
            <a:lvl1pPr>
              <a:defRPr sz="5334"/>
            </a:lvl1pPr>
            <a:lvl2pPr>
              <a:defRPr sz="4800"/>
            </a:lvl2pPr>
            <a:lvl3pPr>
              <a:defRPr sz="4266"/>
            </a:lvl3pPr>
            <a:lvl4pPr>
              <a:defRPr sz="3734"/>
            </a:lvl4pPr>
            <a:lvl5pPr>
              <a:defRPr sz="3734"/>
            </a:lvl5pPr>
            <a:lvl6pPr>
              <a:defRPr sz="4800"/>
            </a:lvl6pPr>
            <a:lvl7pPr>
              <a:defRPr sz="4800"/>
            </a:lvl7pPr>
            <a:lvl8pPr>
              <a:defRPr sz="4800"/>
            </a:lvl8pPr>
            <a:lvl9pPr>
              <a:defRPr sz="4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014778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800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99529" y="549278"/>
            <a:ext cx="21944172" cy="22860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99529" y="3200403"/>
            <a:ext cx="21944172" cy="90519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3266" y="12788605"/>
            <a:ext cx="1720438" cy="46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85032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 skaper verdifulle relasj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800"/>
          </a:p>
        </p:txBody>
      </p:sp>
      <p:grpSp>
        <p:nvGrpSpPr>
          <p:cNvPr id="6" name="Gruppe 5"/>
          <p:cNvGrpSpPr/>
          <p:nvPr userDrawn="1"/>
        </p:nvGrpSpPr>
        <p:grpSpPr>
          <a:xfrm>
            <a:off x="3962142" y="1097363"/>
            <a:ext cx="16458129" cy="9051927"/>
            <a:chOff x="765820" y="1679359"/>
            <a:chExt cx="6172200" cy="3394472"/>
          </a:xfrm>
        </p:grpSpPr>
        <p:sp>
          <p:nvSpPr>
            <p:cNvPr id="7" name="Content Placeholder 2"/>
            <p:cNvSpPr txBox="1">
              <a:spLocks/>
            </p:cNvSpPr>
            <p:nvPr/>
          </p:nvSpPr>
          <p:spPr>
            <a:xfrm>
              <a:off x="765820" y="1679359"/>
              <a:ext cx="6172200" cy="3394472"/>
            </a:xfrm>
            <a:prstGeom prst="rect">
              <a:avLst/>
            </a:prstGeom>
            <a:ln>
              <a:noFill/>
            </a:ln>
          </p:spPr>
          <p:txBody>
            <a:bodyPr vert="horz" lIns="68580" tIns="34290" rIns="68580" bIns="34290" rtlCol="0">
              <a:norm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320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1pPr>
              <a:lvl2pPr marL="457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4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accent3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14400" rtl="0" eaLnBrk="1" latinLnBrk="0" hangingPunct="1">
                <a:spcBef>
                  <a:spcPct val="20000"/>
                </a:spcBef>
                <a:buFont typeface="Arial" pitchFamily="34" charset="0"/>
                <a:buNone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br>
                <a:rPr lang="nb-NO" sz="9000" b="1">
                  <a:solidFill>
                    <a:srgbClr val="911A73"/>
                  </a:solidFill>
                </a:rPr>
              </a:br>
              <a:r>
                <a:rPr lang="nb-NO" sz="9600"/>
                <a:t>Vi skaper verdifulle relasjoner</a:t>
              </a:r>
            </a:p>
          </p:txBody>
        </p:sp>
        <p:grpSp>
          <p:nvGrpSpPr>
            <p:cNvPr id="8" name="Gruppe 7"/>
            <p:cNvGrpSpPr/>
            <p:nvPr/>
          </p:nvGrpSpPr>
          <p:grpSpPr>
            <a:xfrm>
              <a:off x="823705" y="2780929"/>
              <a:ext cx="1292265" cy="2266184"/>
              <a:chOff x="544724" y="2233464"/>
              <a:chExt cx="1723020" cy="3021577"/>
            </a:xfrm>
          </p:grpSpPr>
          <p:sp>
            <p:nvSpPr>
              <p:cNvPr id="21" name="TekstSylinder 13"/>
              <p:cNvSpPr txBox="1"/>
              <p:nvPr/>
            </p:nvSpPr>
            <p:spPr>
              <a:xfrm>
                <a:off x="611560" y="4347101"/>
                <a:ext cx="1656184" cy="907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>
                    <a:solidFill>
                      <a:srgbClr val="FFFFFF"/>
                    </a:solidFill>
                  </a:rPr>
                  <a:t>Alle ansatte; samlet og koordinert. </a:t>
                </a:r>
                <a:br>
                  <a:rPr lang="nb-NO" sz="2800">
                    <a:solidFill>
                      <a:srgbClr val="FFFFFF"/>
                    </a:solidFill>
                  </a:rPr>
                </a:br>
                <a:r>
                  <a:rPr lang="nb-NO" sz="2800">
                    <a:solidFill>
                      <a:srgbClr val="FFFFFF"/>
                    </a:solidFill>
                  </a:rPr>
                  <a:t>Men også sammen med våre partnere</a:t>
                </a:r>
              </a:p>
            </p:txBody>
          </p:sp>
          <p:cxnSp>
            <p:nvCxnSpPr>
              <p:cNvPr id="22" name="Straight Connector 11"/>
              <p:cNvCxnSpPr/>
              <p:nvPr/>
            </p:nvCxnSpPr>
            <p:spPr>
              <a:xfrm>
                <a:off x="544724" y="2233464"/>
                <a:ext cx="930932" cy="0"/>
              </a:xfrm>
              <a:prstGeom prst="line">
                <a:avLst/>
              </a:prstGeom>
              <a:ln w="28575">
                <a:solidFill>
                  <a:srgbClr val="6BDBD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3" name="Straight Connector 20"/>
              <p:cNvCxnSpPr/>
              <p:nvPr/>
            </p:nvCxnSpPr>
            <p:spPr>
              <a:xfrm>
                <a:off x="1010190" y="2233464"/>
                <a:ext cx="0" cy="1944216"/>
              </a:xfrm>
              <a:prstGeom prst="line">
                <a:avLst/>
              </a:prstGeom>
              <a:ln w="28575">
                <a:solidFill>
                  <a:srgbClr val="6BDBD0"/>
                </a:solidFill>
                <a:headEnd type="none" w="sm" len="sm"/>
                <a:tailEnd type="oval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" name="Gruppe 8"/>
            <p:cNvGrpSpPr/>
            <p:nvPr/>
          </p:nvGrpSpPr>
          <p:grpSpPr>
            <a:xfrm>
              <a:off x="1691680" y="2780926"/>
              <a:ext cx="1558416" cy="1186063"/>
              <a:chOff x="1702024" y="2233464"/>
              <a:chExt cx="2077888" cy="1581418"/>
            </a:xfrm>
          </p:grpSpPr>
          <p:sp>
            <p:nvSpPr>
              <p:cNvPr id="18" name="TekstSylinder 16"/>
              <p:cNvSpPr txBox="1"/>
              <p:nvPr/>
            </p:nvSpPr>
            <p:spPr>
              <a:xfrm>
                <a:off x="1835696" y="2906941"/>
                <a:ext cx="1944216" cy="90794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>
                    <a:solidFill>
                      <a:srgbClr val="FFFFFF"/>
                    </a:solidFill>
                  </a:rPr>
                  <a:t>Vi muliggjør og tilrettelegger</a:t>
                </a:r>
                <a:br>
                  <a:rPr lang="nb-NO" sz="2800">
                    <a:solidFill>
                      <a:srgbClr val="FFFFFF"/>
                    </a:solidFill>
                  </a:rPr>
                </a:br>
                <a:r>
                  <a:rPr lang="nb-NO" sz="2800">
                    <a:solidFill>
                      <a:srgbClr val="FFFFFF"/>
                    </a:solidFill>
                  </a:rPr>
                  <a:t>– gjennom kreativitet og nytenking</a:t>
                </a:r>
              </a:p>
            </p:txBody>
          </p:sp>
          <p:cxnSp>
            <p:nvCxnSpPr>
              <p:cNvPr id="19" name="Straight Connector 13"/>
              <p:cNvCxnSpPr/>
              <p:nvPr/>
            </p:nvCxnSpPr>
            <p:spPr>
              <a:xfrm>
                <a:off x="1702024" y="2233464"/>
                <a:ext cx="1626923" cy="0"/>
              </a:xfrm>
              <a:prstGeom prst="line">
                <a:avLst/>
              </a:prstGeom>
              <a:ln w="28575">
                <a:solidFill>
                  <a:schemeClr val="bg2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22"/>
              <p:cNvCxnSpPr/>
              <p:nvPr/>
            </p:nvCxnSpPr>
            <p:spPr>
              <a:xfrm>
                <a:off x="2134072" y="2233464"/>
                <a:ext cx="0" cy="504056"/>
              </a:xfrm>
              <a:prstGeom prst="line">
                <a:avLst/>
              </a:prstGeom>
              <a:ln w="28575">
                <a:solidFill>
                  <a:schemeClr val="bg2"/>
                </a:solidFill>
                <a:headEnd type="none" w="sm" len="sm"/>
                <a:tailEnd type="oval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0" name="Gruppe 9"/>
            <p:cNvGrpSpPr/>
            <p:nvPr/>
          </p:nvGrpSpPr>
          <p:grpSpPr>
            <a:xfrm>
              <a:off x="3034072" y="2780927"/>
              <a:ext cx="2376264" cy="2085112"/>
              <a:chOff x="3491880" y="2233464"/>
              <a:chExt cx="3168352" cy="2780148"/>
            </a:xfrm>
          </p:grpSpPr>
          <p:sp>
            <p:nvSpPr>
              <p:cNvPr id="15" name="TekstSylinder 20"/>
              <p:cNvSpPr txBox="1"/>
              <p:nvPr/>
            </p:nvSpPr>
            <p:spPr>
              <a:xfrm>
                <a:off x="4067944" y="4105672"/>
                <a:ext cx="2592288" cy="90794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>
                    <a:solidFill>
                      <a:srgbClr val="FFFFFF"/>
                    </a:solidFill>
                  </a:rPr>
                  <a:t>Skaper verdier for enkeltmennesket, bedriftene og samfunnet. Det er når folk møtes at verdier skapes</a:t>
                </a:r>
              </a:p>
            </p:txBody>
          </p:sp>
          <p:cxnSp>
            <p:nvCxnSpPr>
              <p:cNvPr id="16" name="Straight Connector 15"/>
              <p:cNvCxnSpPr/>
              <p:nvPr/>
            </p:nvCxnSpPr>
            <p:spPr>
              <a:xfrm>
                <a:off x="3491880" y="2233464"/>
                <a:ext cx="2304256" cy="0"/>
              </a:xfrm>
              <a:prstGeom prst="line">
                <a:avLst/>
              </a:prstGeom>
              <a:ln w="28575">
                <a:solidFill>
                  <a:srgbClr val="6BDBD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" name="Straight Connector 23"/>
              <p:cNvCxnSpPr/>
              <p:nvPr/>
            </p:nvCxnSpPr>
            <p:spPr>
              <a:xfrm>
                <a:off x="4355976" y="2233464"/>
                <a:ext cx="0" cy="1728192"/>
              </a:xfrm>
              <a:prstGeom prst="line">
                <a:avLst/>
              </a:prstGeom>
              <a:ln w="28575">
                <a:solidFill>
                  <a:srgbClr val="6BDBD0"/>
                </a:solidFill>
                <a:headEnd type="none" w="sm" len="sm"/>
                <a:tailEnd type="oval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1" name="Gruppe 10"/>
            <p:cNvGrpSpPr/>
            <p:nvPr/>
          </p:nvGrpSpPr>
          <p:grpSpPr>
            <a:xfrm>
              <a:off x="4870276" y="2780926"/>
              <a:ext cx="2052228" cy="1328592"/>
              <a:chOff x="5940152" y="2233464"/>
              <a:chExt cx="2736304" cy="1771457"/>
            </a:xfrm>
          </p:grpSpPr>
          <p:sp>
            <p:nvSpPr>
              <p:cNvPr id="12" name="TekstSylinder 22"/>
              <p:cNvSpPr txBox="1"/>
              <p:nvPr/>
            </p:nvSpPr>
            <p:spPr>
              <a:xfrm>
                <a:off x="6660232" y="2881536"/>
                <a:ext cx="2016224" cy="112338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b-NO" sz="2800">
                    <a:solidFill>
                      <a:srgbClr val="FFFFFF"/>
                    </a:solidFill>
                  </a:rPr>
                  <a:t>Knytter sammen mennesker og steder. Etablerer relasjonelle og varige bånd. Vi ser og kjenner kunden</a:t>
                </a:r>
              </a:p>
            </p:txBody>
          </p:sp>
          <p:cxnSp>
            <p:nvCxnSpPr>
              <p:cNvPr id="13" name="Straight Connector 17"/>
              <p:cNvCxnSpPr/>
              <p:nvPr/>
            </p:nvCxnSpPr>
            <p:spPr>
              <a:xfrm>
                <a:off x="5940152" y="2233464"/>
                <a:ext cx="2304256" cy="0"/>
              </a:xfrm>
              <a:prstGeom prst="line">
                <a:avLst/>
              </a:prstGeom>
              <a:ln w="28575">
                <a:solidFill>
                  <a:srgbClr val="6BDBD0"/>
                </a:solidFill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" name="Straight Connector 24"/>
              <p:cNvCxnSpPr/>
              <p:nvPr/>
            </p:nvCxnSpPr>
            <p:spPr>
              <a:xfrm>
                <a:off x="6948264" y="2233464"/>
                <a:ext cx="0" cy="504056"/>
              </a:xfrm>
              <a:prstGeom prst="line">
                <a:avLst/>
              </a:prstGeom>
              <a:ln w="28575">
                <a:solidFill>
                  <a:srgbClr val="6BDBD0"/>
                </a:solidFill>
                <a:headEnd type="none" w="sm" len="sm"/>
                <a:tailEnd type="oval" w="med" len="med"/>
              </a:ln>
              <a:effectLst/>
            </p:spPr>
            <p:style>
              <a:lnRef idx="2">
                <a:schemeClr val="accent1"/>
              </a:lnRef>
              <a:fillRef idx="0">
                <a:schemeClr val="accent1"/>
              </a:fillRef>
              <a:effectRef idx="1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24" name="Bilde 2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3266" y="12788605"/>
            <a:ext cx="1720438" cy="46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55492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ormal side tekst sort k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800"/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999532" y="549278"/>
            <a:ext cx="14839844" cy="2286000"/>
          </a:xfrm>
        </p:spPr>
        <p:txBody>
          <a:bodyPr/>
          <a:lstStyle>
            <a:lvl1pPr>
              <a:defRPr b="0">
                <a:solidFill>
                  <a:schemeClr val="bg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99532" y="3200403"/>
            <a:ext cx="14839844" cy="905192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569749" y="329276"/>
            <a:ext cx="6373955" cy="129269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Ellipse 8"/>
          <p:cNvSpPr/>
          <p:nvPr userDrawn="1"/>
        </p:nvSpPr>
        <p:spPr>
          <a:xfrm>
            <a:off x="20439680" y="4391669"/>
            <a:ext cx="339786" cy="338250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/>
          </a:p>
        </p:txBody>
      </p:sp>
      <p:pic>
        <p:nvPicPr>
          <p:cNvPr id="10" name="Bilde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3266" y="12788605"/>
            <a:ext cx="1720438" cy="468882"/>
          </a:xfrm>
          <a:prstGeom prst="rect">
            <a:avLst/>
          </a:prstGeom>
        </p:spPr>
      </p:pic>
      <p:sp>
        <p:nvSpPr>
          <p:cNvPr id="11" name="Ellipse 10">
            <a:extLst>
              <a:ext uri="{FF2B5EF4-FFF2-40B4-BE49-F238E27FC236}">
                <a16:creationId xmlns:a16="http://schemas.microsoft.com/office/drawing/2014/main" id="{18742E52-3517-4BC4-B53B-B64AEE77F11C}"/>
              </a:ext>
            </a:extLst>
          </p:cNvPr>
          <p:cNvSpPr/>
          <p:nvPr userDrawn="1"/>
        </p:nvSpPr>
        <p:spPr>
          <a:xfrm>
            <a:off x="17951472" y="10314385"/>
            <a:ext cx="339786" cy="338250"/>
          </a:xfrm>
          <a:prstGeom prst="ellipse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800"/>
          </a:p>
        </p:txBody>
      </p:sp>
    </p:spTree>
    <p:extLst>
      <p:ext uri="{BB962C8B-B14F-4D97-AF65-F5344CB8AC3E}">
        <p14:creationId xmlns:p14="http://schemas.microsoft.com/office/powerpoint/2010/main" val="3218488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dark imag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083791A9-8771-BE4A-B914-6182D1DEDBDB}"/>
              </a:ext>
            </a:extLst>
          </p:cNvPr>
          <p:cNvSpPr/>
          <p:nvPr userDrawn="1"/>
        </p:nvSpPr>
        <p:spPr>
          <a:xfrm>
            <a:off x="10173065" y="11590635"/>
            <a:ext cx="4036279" cy="2125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BD9AD042-3D5B-1E46-8BF2-D7C13E777219}"/>
              </a:ext>
            </a:extLst>
          </p:cNvPr>
          <p:cNvSpPr/>
          <p:nvPr userDrawn="1"/>
        </p:nvSpPr>
        <p:spPr>
          <a:xfrm>
            <a:off x="8422639" y="0"/>
            <a:ext cx="7537131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/>
          </a:p>
        </p:txBody>
      </p:sp>
      <p:pic>
        <p:nvPicPr>
          <p:cNvPr id="24" name="Bilde 23">
            <a:extLst>
              <a:ext uri="{FF2B5EF4-FFF2-40B4-BE49-F238E27FC236}">
                <a16:creationId xmlns:a16="http://schemas.microsoft.com/office/drawing/2014/main" id="{7E3E9513-53F8-064C-A82C-CBCE901137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740964" y="12496494"/>
            <a:ext cx="1682708" cy="458600"/>
          </a:xfrm>
          <a:prstGeom prst="rect">
            <a:avLst/>
          </a:prstGeom>
        </p:spPr>
      </p:pic>
      <p:grpSp>
        <p:nvGrpSpPr>
          <p:cNvPr id="31" name="Gruppe 30">
            <a:extLst>
              <a:ext uri="{FF2B5EF4-FFF2-40B4-BE49-F238E27FC236}">
                <a16:creationId xmlns:a16="http://schemas.microsoft.com/office/drawing/2014/main" id="{D210903D-1199-3341-AEB2-57A9535CB3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435384" y="450717"/>
            <a:ext cx="1511630" cy="1586270"/>
            <a:chOff x="5568736" y="225356"/>
            <a:chExt cx="1056119" cy="1108196"/>
          </a:xfrm>
        </p:grpSpPr>
        <p:cxnSp>
          <p:nvCxnSpPr>
            <p:cNvPr id="28" name="Gerade Verbindung 9">
              <a:extLst>
                <a:ext uri="{FF2B5EF4-FFF2-40B4-BE49-F238E27FC236}">
                  <a16:creationId xmlns:a16="http://schemas.microsoft.com/office/drawing/2014/main" id="{25EA5370-675A-0546-8E6F-56FAE2EA0557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568736" y="1333552"/>
              <a:ext cx="105611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Oval 11">
              <a:extLst>
                <a:ext uri="{FF2B5EF4-FFF2-40B4-BE49-F238E27FC236}">
                  <a16:creationId xmlns:a16="http://schemas.microsoft.com/office/drawing/2014/main" id="{D87AA5D4-E35C-2647-9A2F-C0D008B3A44B}"/>
                </a:ext>
              </a:extLst>
            </p:cNvPr>
            <p:cNvSpPr/>
            <p:nvPr userDrawn="1"/>
          </p:nvSpPr>
          <p:spPr bwMode="gray">
            <a:xfrm>
              <a:off x="5681419" y="225356"/>
              <a:ext cx="830753" cy="830753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400"/>
            </a:p>
          </p:txBody>
        </p:sp>
        <p:pic>
          <p:nvPicPr>
            <p:cNvPr id="30" name="Grafik 68">
              <a:extLst>
                <a:ext uri="{FF2B5EF4-FFF2-40B4-BE49-F238E27FC236}">
                  <a16:creationId xmlns:a16="http://schemas.microsoft.com/office/drawing/2014/main" id="{D411709A-6082-7043-A9E7-41F16E2308CF}"/>
                </a:ext>
              </a:extLst>
            </p:cNvPr>
            <p:cNvPicPr>
              <a:picLocks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26125" y="457201"/>
              <a:ext cx="563563" cy="400050"/>
            </a:xfrm>
            <a:prstGeom prst="rect">
              <a:avLst/>
            </a:prstGeom>
          </p:spPr>
        </p:pic>
      </p:grpSp>
      <p:sp>
        <p:nvSpPr>
          <p:cNvPr id="25" name="Plassholder for dato 24">
            <a:extLst>
              <a:ext uri="{FF2B5EF4-FFF2-40B4-BE49-F238E27FC236}">
                <a16:creationId xmlns:a16="http://schemas.microsoft.com/office/drawing/2014/main" id="{4E7EBF1A-1BDC-5343-BD4D-37F0DED623B1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B4A0D3A3-0B32-1F49-8D6A-06D0311DA115}" type="datetime1">
              <a:rPr lang="nb-NO" smtClean="0"/>
              <a:pPr/>
              <a:t>06.05.2024</a:t>
            </a:fld>
            <a:endParaRPr lang="nb-NO"/>
          </a:p>
        </p:txBody>
      </p: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2EF9F04C-3198-9846-A3D8-7932B7145E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407824" y="11883681"/>
            <a:ext cx="3566758" cy="153575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/>
              <a:t>[Place logo]</a:t>
            </a: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4857C071-7640-6A49-BED4-385DB9B454A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64246" y="3314567"/>
            <a:ext cx="6453924" cy="7302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1pPr>
            <a:lvl2pPr marL="914332" indent="0" algn="ctr">
              <a:buNone/>
              <a:defRPr/>
            </a:lvl2pPr>
            <a:lvl3pPr marL="1828663" indent="0" algn="ctr">
              <a:buNone/>
              <a:defRPr/>
            </a:lvl3pPr>
            <a:lvl4pPr marL="2742995" indent="0" algn="ctr">
              <a:buNone/>
              <a:defRPr/>
            </a:lvl4pPr>
            <a:lvl5pPr marL="3657325" indent="0" algn="ctr">
              <a:buNone/>
              <a:defRPr/>
            </a:lvl5pPr>
          </a:lstStyle>
          <a:p>
            <a:pPr lvl="0"/>
            <a:r>
              <a:rPr lang="nb-NO"/>
              <a:t>[Enter plane type]</a:t>
            </a:r>
          </a:p>
        </p:txBody>
      </p:sp>
      <p:sp>
        <p:nvSpPr>
          <p:cNvPr id="12" name="Plassholder for tekst 7">
            <a:extLst>
              <a:ext uri="{FF2B5EF4-FFF2-40B4-BE49-F238E27FC236}">
                <a16:creationId xmlns:a16="http://schemas.microsoft.com/office/drawing/2014/main" id="{3E4F1E1F-ACEA-6549-8A53-896A95DE0DA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64246" y="2485481"/>
            <a:ext cx="6453924" cy="7302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1pPr>
            <a:lvl2pPr marL="914332" indent="0" algn="ctr">
              <a:buNone/>
              <a:defRPr/>
            </a:lvl2pPr>
            <a:lvl3pPr marL="1828663" indent="0" algn="ctr">
              <a:buNone/>
              <a:defRPr/>
            </a:lvl3pPr>
            <a:lvl4pPr marL="2742995" indent="0" algn="ctr">
              <a:buNone/>
              <a:defRPr/>
            </a:lvl4pPr>
            <a:lvl5pPr marL="3657325" indent="0" algn="ctr">
              <a:buNone/>
              <a:defRPr/>
            </a:lvl5pPr>
          </a:lstStyle>
          <a:p>
            <a:pPr lvl="0"/>
            <a:r>
              <a:rPr lang="nb-NO"/>
              <a:t>[Enter </a:t>
            </a:r>
            <a:r>
              <a:rPr lang="nb-NO" err="1"/>
              <a:t>route</a:t>
            </a:r>
            <a:r>
              <a:rPr lang="nb-NO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2216499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4">
            <a:extLst>
              <a:ext uri="{FF2B5EF4-FFF2-40B4-BE49-F238E27FC236}">
                <a16:creationId xmlns:a16="http://schemas.microsoft.com/office/drawing/2014/main" id="{A7361502-BAF6-63E6-4F66-134460A8373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sv-SE" dirty="0" err="1"/>
              <a:t>Insert</a:t>
            </a:r>
            <a:r>
              <a:rPr lang="sv-SE" dirty="0"/>
              <a:t> </a:t>
            </a:r>
            <a:r>
              <a:rPr lang="sv-SE" dirty="0" err="1"/>
              <a:t>picture</a:t>
            </a:r>
            <a:r>
              <a:rPr lang="sv-SE" dirty="0"/>
              <a:t> </a:t>
            </a:r>
            <a:r>
              <a:rPr lang="sv-SE" dirty="0" err="1"/>
              <a:t>here</a:t>
            </a:r>
            <a:r>
              <a:rPr lang="sv-SE" dirty="0"/>
              <a:t> via ”</a:t>
            </a:r>
            <a:r>
              <a:rPr lang="sv-SE" dirty="0" err="1"/>
              <a:t>Insert</a:t>
            </a:r>
            <a:r>
              <a:rPr lang="sv-SE" dirty="0"/>
              <a:t>” -&gt; ”Picture”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51B796B-DBFC-8C76-40B5-6CDB629DA0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75470" y="4423195"/>
            <a:ext cx="17310943" cy="461664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0000" b="0">
                <a:solidFill>
                  <a:schemeClr val="dk1"/>
                </a:solidFill>
                <a:latin typeface="+mj-lt"/>
              </a:defRPr>
            </a:lvl1pPr>
          </a:lstStyle>
          <a:p>
            <a:r>
              <a:rPr lang="nb-NO" dirty="0" err="1"/>
              <a:t>Quote</a:t>
            </a:r>
            <a:endParaRPr lang="sv-SE" dirty="0"/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9825254-6D22-778D-6029-452DC68903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9F866-7F33-43F2-97A2-72332BE0FF1F}" type="datetime1">
              <a:rPr lang="sv-SE" smtClean="0"/>
              <a:t>2024-05-06</a:t>
            </a:fld>
            <a:endParaRPr lang="sv-SE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0177A564-7C60-5AFF-3B27-47A2FFE172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BC094215-C1DD-2E2C-CC27-4B6F9A522C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DB2E4-2809-4C85-B511-BAACE80F7AD9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3755EC2D-83AE-33DB-EAAD-89649D8F074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70" y="11938660"/>
            <a:ext cx="3423600" cy="101817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44776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right image)">
    <p:bg>
      <p:bgPr>
        <a:solidFill>
          <a:schemeClr val="accent5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ktangel 13">
            <a:extLst>
              <a:ext uri="{FF2B5EF4-FFF2-40B4-BE49-F238E27FC236}">
                <a16:creationId xmlns:a16="http://schemas.microsoft.com/office/drawing/2014/main" id="{083791A9-8771-BE4A-B914-6182D1DEDBDB}"/>
              </a:ext>
            </a:extLst>
          </p:cNvPr>
          <p:cNvSpPr/>
          <p:nvPr userDrawn="1"/>
        </p:nvSpPr>
        <p:spPr>
          <a:xfrm>
            <a:off x="10173065" y="11590635"/>
            <a:ext cx="4036279" cy="212536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/>
          </a:p>
        </p:txBody>
      </p:sp>
      <p:sp>
        <p:nvSpPr>
          <p:cNvPr id="13" name="Rektangel 12">
            <a:extLst>
              <a:ext uri="{FF2B5EF4-FFF2-40B4-BE49-F238E27FC236}">
                <a16:creationId xmlns:a16="http://schemas.microsoft.com/office/drawing/2014/main" id="{BD9AD042-3D5B-1E46-8BF2-D7C13E777219}"/>
              </a:ext>
            </a:extLst>
          </p:cNvPr>
          <p:cNvSpPr/>
          <p:nvPr userDrawn="1"/>
        </p:nvSpPr>
        <p:spPr>
          <a:xfrm>
            <a:off x="8422639" y="0"/>
            <a:ext cx="7537131" cy="4572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/>
          </a:p>
        </p:txBody>
      </p:sp>
      <p:pic>
        <p:nvPicPr>
          <p:cNvPr id="18" name="Bilde 17">
            <a:extLst>
              <a:ext uri="{FF2B5EF4-FFF2-40B4-BE49-F238E27FC236}">
                <a16:creationId xmlns:a16="http://schemas.microsoft.com/office/drawing/2014/main" id="{014D97FB-64F0-D347-97B3-B6FBBAACAE2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1740964" y="12496494"/>
            <a:ext cx="1682708" cy="458600"/>
          </a:xfrm>
          <a:prstGeom prst="rect">
            <a:avLst/>
          </a:prstGeom>
        </p:spPr>
      </p:pic>
      <p:grpSp>
        <p:nvGrpSpPr>
          <p:cNvPr id="23" name="Gruppe 22">
            <a:extLst>
              <a:ext uri="{FF2B5EF4-FFF2-40B4-BE49-F238E27FC236}">
                <a16:creationId xmlns:a16="http://schemas.microsoft.com/office/drawing/2014/main" id="{50B464E9-9473-6E4C-9CC5-7BC10EE442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11435384" y="450717"/>
            <a:ext cx="1511630" cy="1586270"/>
            <a:chOff x="5568736" y="225356"/>
            <a:chExt cx="1056119" cy="1108196"/>
          </a:xfrm>
        </p:grpSpPr>
        <p:cxnSp>
          <p:nvCxnSpPr>
            <p:cNvPr id="24" name="Gerade Verbindung 9">
              <a:extLst>
                <a:ext uri="{FF2B5EF4-FFF2-40B4-BE49-F238E27FC236}">
                  <a16:creationId xmlns:a16="http://schemas.microsoft.com/office/drawing/2014/main" id="{9AA76688-E0A3-6840-A034-24E6DDAC25BE}"/>
                </a:ext>
              </a:extLst>
            </p:cNvPr>
            <p:cNvCxnSpPr>
              <a:cxnSpLocks/>
            </p:cNvCxnSpPr>
            <p:nvPr userDrawn="1"/>
          </p:nvCxnSpPr>
          <p:spPr bwMode="gray">
            <a:xfrm>
              <a:off x="5568736" y="1333552"/>
              <a:ext cx="1056119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11">
              <a:extLst>
                <a:ext uri="{FF2B5EF4-FFF2-40B4-BE49-F238E27FC236}">
                  <a16:creationId xmlns:a16="http://schemas.microsoft.com/office/drawing/2014/main" id="{D2540147-E606-E949-8690-46D7AD30AAA4}"/>
                </a:ext>
              </a:extLst>
            </p:cNvPr>
            <p:cNvSpPr/>
            <p:nvPr userDrawn="1"/>
          </p:nvSpPr>
          <p:spPr bwMode="gray">
            <a:xfrm>
              <a:off x="5681419" y="225356"/>
              <a:ext cx="830753" cy="830753"/>
            </a:xfrm>
            <a:prstGeom prst="ellipse">
              <a:avLst/>
            </a:pr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6400"/>
            </a:p>
          </p:txBody>
        </p:sp>
        <p:pic>
          <p:nvPicPr>
            <p:cNvPr id="26" name="Grafik 68">
              <a:extLst>
                <a:ext uri="{FF2B5EF4-FFF2-40B4-BE49-F238E27FC236}">
                  <a16:creationId xmlns:a16="http://schemas.microsoft.com/office/drawing/2014/main" id="{A19BE946-FB75-734C-BFCD-3347A75CF183}"/>
                </a:ext>
              </a:extLst>
            </p:cNvPr>
            <p:cNvPicPr>
              <a:picLocks/>
            </p:cNvPicPr>
            <p:nvPr userDrawn="1"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826125" y="457201"/>
              <a:ext cx="563563" cy="400050"/>
            </a:xfrm>
            <a:prstGeom prst="rect">
              <a:avLst/>
            </a:prstGeom>
          </p:spPr>
        </p:pic>
      </p:grp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D7D2CF3-2414-4640-AAF9-0E4F6E87404D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fld id="{D1EEFFB8-6344-F846-B9AD-E96DA1542917}" type="datetime1">
              <a:rPr lang="nb-NO" smtClean="0"/>
              <a:pPr/>
              <a:t>06.05.2024</a:t>
            </a:fld>
            <a:endParaRPr lang="nb-NO"/>
          </a:p>
        </p:txBody>
      </p: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2EF9F04C-3198-9846-A3D8-7932B7145E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407824" y="11883681"/>
            <a:ext cx="3566758" cy="1535754"/>
          </a:xfrm>
        </p:spPr>
        <p:txBody>
          <a:bodyPr anchor="ctr">
            <a:normAutofit/>
          </a:bodyPr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nb-NO"/>
              <a:t>[Place logo]</a:t>
            </a:r>
          </a:p>
        </p:txBody>
      </p:sp>
      <p:sp>
        <p:nvSpPr>
          <p:cNvPr id="21" name="Plassholder for tekst 7">
            <a:extLst>
              <a:ext uri="{FF2B5EF4-FFF2-40B4-BE49-F238E27FC236}">
                <a16:creationId xmlns:a16="http://schemas.microsoft.com/office/drawing/2014/main" id="{75586547-99D6-344C-A79C-4AEB702CF58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964246" y="3314567"/>
            <a:ext cx="6453924" cy="7302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1pPr>
            <a:lvl2pPr marL="914332" indent="0" algn="ctr">
              <a:buNone/>
              <a:defRPr/>
            </a:lvl2pPr>
            <a:lvl3pPr marL="1828663" indent="0" algn="ctr">
              <a:buNone/>
              <a:defRPr/>
            </a:lvl3pPr>
            <a:lvl4pPr marL="2742995" indent="0" algn="ctr">
              <a:buNone/>
              <a:defRPr/>
            </a:lvl4pPr>
            <a:lvl5pPr marL="3657325" indent="0" algn="ctr">
              <a:buNone/>
              <a:defRPr/>
            </a:lvl5pPr>
          </a:lstStyle>
          <a:p>
            <a:pPr lvl="0"/>
            <a:r>
              <a:rPr lang="nb-NO"/>
              <a:t>[Enter plane type]</a:t>
            </a:r>
          </a:p>
        </p:txBody>
      </p:sp>
      <p:sp>
        <p:nvSpPr>
          <p:cNvPr id="27" name="Plassholder for tekst 7">
            <a:extLst>
              <a:ext uri="{FF2B5EF4-FFF2-40B4-BE49-F238E27FC236}">
                <a16:creationId xmlns:a16="http://schemas.microsoft.com/office/drawing/2014/main" id="{394189FA-B50D-3747-9012-AAF4314F96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64246" y="2485481"/>
            <a:ext cx="6453924" cy="730250"/>
          </a:xfr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3200">
                <a:solidFill>
                  <a:schemeClr val="bg1"/>
                </a:solidFill>
              </a:defRPr>
            </a:lvl1pPr>
            <a:lvl2pPr marL="914332" indent="0" algn="ctr">
              <a:buNone/>
              <a:defRPr/>
            </a:lvl2pPr>
            <a:lvl3pPr marL="1828663" indent="0" algn="ctr">
              <a:buNone/>
              <a:defRPr/>
            </a:lvl3pPr>
            <a:lvl4pPr marL="2742995" indent="0" algn="ctr">
              <a:buNone/>
              <a:defRPr/>
            </a:lvl4pPr>
            <a:lvl5pPr marL="3657325" indent="0" algn="ctr">
              <a:buNone/>
              <a:defRPr/>
            </a:lvl5pPr>
          </a:lstStyle>
          <a:p>
            <a:pPr lvl="0"/>
            <a:r>
              <a:rPr lang="nb-NO"/>
              <a:t>[Enter </a:t>
            </a:r>
            <a:r>
              <a:rPr lang="nb-NO" err="1"/>
              <a:t>route</a:t>
            </a:r>
            <a:r>
              <a:rPr lang="nb-NO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28756567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(purple)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lysbildenummer 24">
            <a:extLst>
              <a:ext uri="{FF2B5EF4-FFF2-40B4-BE49-F238E27FC236}">
                <a16:creationId xmlns:a16="http://schemas.microsoft.com/office/drawing/2014/main" id="{8E0869BF-0B7D-CA42-AE0A-77ECA3BCE574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776359" y="12356753"/>
            <a:ext cx="5486043" cy="73025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5" name="Plassholder for bunntekst 6">
            <a:extLst>
              <a:ext uri="{FF2B5EF4-FFF2-40B4-BE49-F238E27FC236}">
                <a16:creationId xmlns:a16="http://schemas.microsoft.com/office/drawing/2014/main" id="{B18252DE-9582-2B48-9174-BB27CFB82F4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076675" y="12355337"/>
            <a:ext cx="8229064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27CED730-9A0F-AF4F-A6B2-8C0D0740C9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802" y="7204075"/>
            <a:ext cx="18286810" cy="3311526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4800">
                <a:solidFill>
                  <a:schemeClr val="bg1"/>
                </a:solidFill>
              </a:defRPr>
            </a:lvl1pPr>
            <a:lvl2pPr marL="914332" indent="0" algn="ctr">
              <a:buNone/>
              <a:defRPr sz="4000"/>
            </a:lvl2pPr>
            <a:lvl3pPr marL="1828663" indent="0" algn="ctr">
              <a:buNone/>
              <a:defRPr sz="3600"/>
            </a:lvl3pPr>
            <a:lvl4pPr marL="2742995" indent="0" algn="ctr">
              <a:buNone/>
              <a:defRPr sz="3200"/>
            </a:lvl4pPr>
            <a:lvl5pPr marL="3657325" indent="0" algn="ctr">
              <a:buNone/>
              <a:defRPr sz="3200"/>
            </a:lvl5pPr>
            <a:lvl6pPr marL="4571657" indent="0" algn="ctr">
              <a:buNone/>
              <a:defRPr sz="3200"/>
            </a:lvl6pPr>
            <a:lvl7pPr marL="5485988" indent="0" algn="ctr">
              <a:buNone/>
              <a:defRPr sz="3200"/>
            </a:lvl7pPr>
            <a:lvl8pPr marL="6400320" indent="0" algn="ctr">
              <a:buNone/>
              <a:defRPr sz="3200"/>
            </a:lvl8pPr>
            <a:lvl9pPr marL="731465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D1FB3BFC-771B-6946-A4D8-A53D965D4B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802" y="2244726"/>
            <a:ext cx="18286810" cy="4775200"/>
          </a:xfrm>
        </p:spPr>
        <p:txBody>
          <a:bodyPr anchor="b"/>
          <a:lstStyle>
            <a:lvl1pPr algn="ctr">
              <a:lnSpc>
                <a:spcPct val="100000"/>
              </a:lnSpc>
              <a:defRPr sz="119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128864468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(black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24">
            <a:extLst>
              <a:ext uri="{FF2B5EF4-FFF2-40B4-BE49-F238E27FC236}">
                <a16:creationId xmlns:a16="http://schemas.microsoft.com/office/drawing/2014/main" id="{08A6D143-6B6C-9E48-9147-7159728DBB0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776359" y="12356753"/>
            <a:ext cx="5486043" cy="73025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bunntekst 6">
            <a:extLst>
              <a:ext uri="{FF2B5EF4-FFF2-40B4-BE49-F238E27FC236}">
                <a16:creationId xmlns:a16="http://schemas.microsoft.com/office/drawing/2014/main" id="{2F6B8BB8-2966-BF4C-988A-D686994D0E3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076675" y="12355337"/>
            <a:ext cx="8229064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21" name="Undertittel 2">
            <a:extLst>
              <a:ext uri="{FF2B5EF4-FFF2-40B4-BE49-F238E27FC236}">
                <a16:creationId xmlns:a16="http://schemas.microsoft.com/office/drawing/2014/main" id="{491F4230-0401-E547-B930-80D003E3A9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047802" y="7204075"/>
            <a:ext cx="18286810" cy="3311526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4800">
                <a:solidFill>
                  <a:schemeClr val="bg1"/>
                </a:solidFill>
              </a:defRPr>
            </a:lvl1pPr>
            <a:lvl2pPr marL="914332" indent="0" algn="ctr">
              <a:buNone/>
              <a:defRPr sz="4000"/>
            </a:lvl2pPr>
            <a:lvl3pPr marL="1828663" indent="0" algn="ctr">
              <a:buNone/>
              <a:defRPr sz="3600"/>
            </a:lvl3pPr>
            <a:lvl4pPr marL="2742995" indent="0" algn="ctr">
              <a:buNone/>
              <a:defRPr sz="3200"/>
            </a:lvl4pPr>
            <a:lvl5pPr marL="3657325" indent="0" algn="ctr">
              <a:buNone/>
              <a:defRPr sz="3200"/>
            </a:lvl5pPr>
            <a:lvl6pPr marL="4571657" indent="0" algn="ctr">
              <a:buNone/>
              <a:defRPr sz="3200"/>
            </a:lvl6pPr>
            <a:lvl7pPr marL="5485988" indent="0" algn="ctr">
              <a:buNone/>
              <a:defRPr sz="3200"/>
            </a:lvl7pPr>
            <a:lvl8pPr marL="6400320" indent="0" algn="ctr">
              <a:buNone/>
              <a:defRPr sz="3200"/>
            </a:lvl8pPr>
            <a:lvl9pPr marL="7314652" indent="0" algn="ctr">
              <a:buNone/>
              <a:defRPr sz="32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20" name="Tittel 1">
            <a:extLst>
              <a:ext uri="{FF2B5EF4-FFF2-40B4-BE49-F238E27FC236}">
                <a16:creationId xmlns:a16="http://schemas.microsoft.com/office/drawing/2014/main" id="{9ABBE65A-9014-5642-BA95-AEE6EF07A9A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047802" y="2244726"/>
            <a:ext cx="18286810" cy="4775200"/>
          </a:xfrm>
        </p:spPr>
        <p:txBody>
          <a:bodyPr anchor="b"/>
          <a:lstStyle>
            <a:lvl1pPr algn="ctr">
              <a:lnSpc>
                <a:spcPct val="100000"/>
              </a:lnSpc>
              <a:defRPr sz="11999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473525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230">
          <p15:clr>
            <a:srgbClr val="FBAE40"/>
          </p15:clr>
        </p15:guide>
        <p15:guide id="2" orient="horz" pos="909">
          <p15:clr>
            <a:srgbClr val="FBAE40"/>
          </p15:clr>
        </p15:guide>
        <p15:guide id="3" orient="horz" pos="719">
          <p15:clr>
            <a:srgbClr val="FBAE40"/>
          </p15:clr>
        </p15:guide>
        <p15:guide id="4" orient="horz" pos="388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purple (dark imag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24">
            <a:extLst>
              <a:ext uri="{FF2B5EF4-FFF2-40B4-BE49-F238E27FC236}">
                <a16:creationId xmlns:a16="http://schemas.microsoft.com/office/drawing/2014/main" id="{B1C04DFB-9F76-4D41-B469-CD6A5D6A61E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776359" y="12356753"/>
            <a:ext cx="5486043" cy="73025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bunntekst 6">
            <a:extLst>
              <a:ext uri="{FF2B5EF4-FFF2-40B4-BE49-F238E27FC236}">
                <a16:creationId xmlns:a16="http://schemas.microsoft.com/office/drawing/2014/main" id="{8A2BB7EB-9524-3F45-B686-BA008E0726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076675" y="12355337"/>
            <a:ext cx="8229064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Tittel 7">
            <a:extLst>
              <a:ext uri="{FF2B5EF4-FFF2-40B4-BE49-F238E27FC236}">
                <a16:creationId xmlns:a16="http://schemas.microsoft.com/office/drawing/2014/main" id="{07CC71AA-0CA7-FA4A-A47A-C3E61862E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7811" y="3214397"/>
            <a:ext cx="6526791" cy="6527214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160554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purple (brigh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24">
            <a:extLst>
              <a:ext uri="{FF2B5EF4-FFF2-40B4-BE49-F238E27FC236}">
                <a16:creationId xmlns:a16="http://schemas.microsoft.com/office/drawing/2014/main" id="{B1C04DFB-9F76-4D41-B469-CD6A5D6A61E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776359" y="12356753"/>
            <a:ext cx="5486043" cy="73025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bunntekst 6">
            <a:extLst>
              <a:ext uri="{FF2B5EF4-FFF2-40B4-BE49-F238E27FC236}">
                <a16:creationId xmlns:a16="http://schemas.microsoft.com/office/drawing/2014/main" id="{8A2BB7EB-9524-3F45-B686-BA008E0726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076675" y="12355337"/>
            <a:ext cx="8229064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Tittel 7">
            <a:extLst>
              <a:ext uri="{FF2B5EF4-FFF2-40B4-BE49-F238E27FC236}">
                <a16:creationId xmlns:a16="http://schemas.microsoft.com/office/drawing/2014/main" id="{3B710267-8238-8A4A-A905-1B6804761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7811" y="3214397"/>
            <a:ext cx="6526791" cy="6527214"/>
          </a:xfrm>
          <a:prstGeom prst="ellipse">
            <a:avLst/>
          </a:prstGeom>
          <a:solidFill>
            <a:schemeClr val="accent1"/>
          </a:solid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838733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urquoise (dark image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24">
            <a:extLst>
              <a:ext uri="{FF2B5EF4-FFF2-40B4-BE49-F238E27FC236}">
                <a16:creationId xmlns:a16="http://schemas.microsoft.com/office/drawing/2014/main" id="{B1C04DFB-9F76-4D41-B469-CD6A5D6A61E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776359" y="12356753"/>
            <a:ext cx="5486043" cy="73025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bunntekst 6">
            <a:extLst>
              <a:ext uri="{FF2B5EF4-FFF2-40B4-BE49-F238E27FC236}">
                <a16:creationId xmlns:a16="http://schemas.microsoft.com/office/drawing/2014/main" id="{8A2BB7EB-9524-3F45-B686-BA008E0726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076675" y="12355337"/>
            <a:ext cx="8229064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10" name="Tittel 7">
            <a:extLst>
              <a:ext uri="{FF2B5EF4-FFF2-40B4-BE49-F238E27FC236}">
                <a16:creationId xmlns:a16="http://schemas.microsoft.com/office/drawing/2014/main" id="{07CC71AA-0CA7-FA4A-A47A-C3E61862E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7811" y="3214397"/>
            <a:ext cx="6526791" cy="6527214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031190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, turquoise (bright image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24">
            <a:extLst>
              <a:ext uri="{FF2B5EF4-FFF2-40B4-BE49-F238E27FC236}">
                <a16:creationId xmlns:a16="http://schemas.microsoft.com/office/drawing/2014/main" id="{B1C04DFB-9F76-4D41-B469-CD6A5D6A61E2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>
          <a:xfrm>
            <a:off x="776359" y="12356753"/>
            <a:ext cx="5486043" cy="730250"/>
          </a:xfrm>
        </p:spPr>
        <p:txBody>
          <a:bodyPr/>
          <a:lstStyle>
            <a:lvl1pPr algn="l"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bunntekst 6">
            <a:extLst>
              <a:ext uri="{FF2B5EF4-FFF2-40B4-BE49-F238E27FC236}">
                <a16:creationId xmlns:a16="http://schemas.microsoft.com/office/drawing/2014/main" id="{8A2BB7EB-9524-3F45-B686-BA008E07263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8076675" y="12355337"/>
            <a:ext cx="8229064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Tittel 7">
            <a:extLst>
              <a:ext uri="{FF2B5EF4-FFF2-40B4-BE49-F238E27FC236}">
                <a16:creationId xmlns:a16="http://schemas.microsoft.com/office/drawing/2014/main" id="{BFA978C8-8219-C44E-8C79-C157A0BA0A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927811" y="3214397"/>
            <a:ext cx="6526791" cy="6527214"/>
          </a:xfrm>
          <a:prstGeom prst="ellipse">
            <a:avLst/>
          </a:prstGeom>
          <a:solidFill>
            <a:schemeClr val="bg2"/>
          </a:solidFill>
        </p:spPr>
        <p:txBody>
          <a:bodyPr anchor="ctr">
            <a:normAutofit/>
          </a:bodyPr>
          <a:lstStyle>
            <a:lvl1pPr algn="ctr">
              <a:lnSpc>
                <a:spcPct val="100000"/>
              </a:lnSpc>
              <a:defRPr sz="48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9485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oster, purpl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C85470BA-C1B0-004C-92B2-6D27432571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6763" y="5852832"/>
            <a:ext cx="4108891" cy="1119824"/>
          </a:xfrm>
          <a:prstGeom prst="rect">
            <a:avLst/>
          </a:prstGeom>
        </p:spPr>
      </p:pic>
      <p:sp>
        <p:nvSpPr>
          <p:cNvPr id="5" name="Plassholder for dato 24">
            <a:extLst>
              <a:ext uri="{FF2B5EF4-FFF2-40B4-BE49-F238E27FC236}">
                <a16:creationId xmlns:a16="http://schemas.microsoft.com/office/drawing/2014/main" id="{0D55BDDB-9251-C947-965C-F36E132617A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776359" y="12355341"/>
            <a:ext cx="5486043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EF8B9C63-748D-2A40-BE65-A1E87CC739E1}" type="datetime1">
              <a:rPr lang="nb-NO" smtClean="0"/>
              <a:pPr/>
              <a:t>06.05.2024</a:t>
            </a:fld>
            <a:endParaRPr lang="nb-NO"/>
          </a:p>
        </p:txBody>
      </p:sp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0C0DB550-E584-3A45-9576-C733723B3FA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2069611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oster,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>
            <a:extLst>
              <a:ext uri="{FF2B5EF4-FFF2-40B4-BE49-F238E27FC236}">
                <a16:creationId xmlns:a16="http://schemas.microsoft.com/office/drawing/2014/main" id="{C85470BA-C1B0-004C-92B2-6D274325719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6763" y="5852832"/>
            <a:ext cx="4108891" cy="1119824"/>
          </a:xfrm>
          <a:prstGeom prst="rect">
            <a:avLst/>
          </a:prstGeom>
        </p:spPr>
      </p:pic>
      <p:sp>
        <p:nvSpPr>
          <p:cNvPr id="10" name="Plassholder for dato 18">
            <a:extLst>
              <a:ext uri="{FF2B5EF4-FFF2-40B4-BE49-F238E27FC236}">
                <a16:creationId xmlns:a16="http://schemas.microsoft.com/office/drawing/2014/main" id="{5ABEA848-A8C2-CE45-B2E9-49792DDC1B64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76359" y="12355341"/>
            <a:ext cx="5486043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fld id="{BDFF1D22-BAFE-944E-9DB7-CA3175CB223E}" type="datetime1">
              <a:rPr lang="nb-NO" smtClean="0"/>
              <a:pPr/>
              <a:t>06.05.2024</a:t>
            </a:fld>
            <a:endParaRPr lang="nb-NO"/>
          </a:p>
        </p:txBody>
      </p:sp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0C0DB550-E584-3A45-9576-C733723B3FA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368381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poster,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>
            <a:extLst>
              <a:ext uri="{FF2B5EF4-FFF2-40B4-BE49-F238E27FC236}">
                <a16:creationId xmlns:a16="http://schemas.microsoft.com/office/drawing/2014/main" id="{C6555F39-3281-D342-972D-40F321DC97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136763" y="5852832"/>
            <a:ext cx="4108891" cy="1119824"/>
          </a:xfrm>
          <a:prstGeom prst="rect">
            <a:avLst/>
          </a:prstGeom>
        </p:spPr>
      </p:pic>
      <p:sp>
        <p:nvSpPr>
          <p:cNvPr id="4" name="Plassholder for dato 18">
            <a:extLst>
              <a:ext uri="{FF2B5EF4-FFF2-40B4-BE49-F238E27FC236}">
                <a16:creationId xmlns:a16="http://schemas.microsoft.com/office/drawing/2014/main" id="{D2A4AD0D-A420-DB41-A77A-CBD6CAAD1F96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76359" y="12355341"/>
            <a:ext cx="5486043" cy="73025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fld id="{E34FF5D9-C4DD-9C48-8D30-7787E149F357}" type="datetime1">
              <a:rPr lang="nb-NO" smtClean="0"/>
              <a:pPr/>
              <a:t>06.05.2024</a:t>
            </a:fld>
            <a:endParaRPr lang="nb-NO"/>
          </a:p>
        </p:txBody>
      </p:sp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AF0930A-2B92-6845-A309-48E7B305385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lnSpc>
                <a:spcPct val="100000"/>
              </a:lnSpc>
              <a:defRPr>
                <a:solidFill>
                  <a:schemeClr val="accent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164636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dark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14">
            <a:extLst>
              <a:ext uri="{FF2B5EF4-FFF2-40B4-BE49-F238E27FC236}">
                <a16:creationId xmlns:a16="http://schemas.microsoft.com/office/drawing/2014/main" id="{1F6DCB07-7BB1-8DD4-57DC-BFEF48CEDC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25B4BD3-1C84-8613-6698-E6D89B6CF6D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14414" y="5398516"/>
            <a:ext cx="17310942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lt1"/>
                </a:solidFill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Credit line </a:t>
            </a:r>
            <a:r>
              <a:rPr lang="nb-NO" dirty="0" err="1"/>
              <a:t>optional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396246D-9EEF-4ABC-9EC2-223DEBDA944D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756101"/>
            <a:ext cx="17310942" cy="415403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sp>
        <p:nvSpPr>
          <p:cNvPr id="9" name="Plassholder for tekst 10">
            <a:extLst>
              <a:ext uri="{FF2B5EF4-FFF2-40B4-BE49-F238E27FC236}">
                <a16:creationId xmlns:a16="http://schemas.microsoft.com/office/drawing/2014/main" id="{DF3B7CA7-EAF1-6BED-CBE8-9993AAEDD8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70" y="11938660"/>
            <a:ext cx="3423600" cy="101817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012450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l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14">
            <a:extLst>
              <a:ext uri="{FF2B5EF4-FFF2-40B4-BE49-F238E27FC236}">
                <a16:creationId xmlns:a16="http://schemas.microsoft.com/office/drawing/2014/main" id="{1F6DCB07-7BB1-8DD4-57DC-BFEF48CEDC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225B4BD3-1C84-8613-6698-E6D89B6CF6DF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014414" y="5398516"/>
            <a:ext cx="17310942" cy="615553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dk1"/>
                </a:solidFill>
              </a:defRPr>
            </a:lvl1pPr>
            <a:lvl2pPr marL="914354" indent="0">
              <a:buNone/>
              <a:defRPr sz="4000">
                <a:solidFill>
                  <a:schemeClr val="tx1">
                    <a:tint val="75000"/>
                  </a:schemeClr>
                </a:solidFill>
              </a:defRPr>
            </a:lvl2pPr>
            <a:lvl3pPr marL="1828709" indent="0">
              <a:buNone/>
              <a:defRPr sz="3600">
                <a:solidFill>
                  <a:schemeClr val="tx1">
                    <a:tint val="75000"/>
                  </a:schemeClr>
                </a:solidFill>
              </a:defRPr>
            </a:lvl3pPr>
            <a:lvl4pPr marL="2743063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4pPr>
            <a:lvl5pPr marL="3657417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5pPr>
            <a:lvl6pPr marL="4571771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6pPr>
            <a:lvl7pPr marL="5486126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7pPr>
            <a:lvl8pPr marL="6400480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8pPr>
            <a:lvl9pPr marL="7314834" indent="0">
              <a:buNone/>
              <a:defRPr sz="3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dirty="0"/>
              <a:t>Credit line </a:t>
            </a:r>
            <a:r>
              <a:rPr lang="nb-NO" dirty="0" err="1"/>
              <a:t>optional</a:t>
            </a:r>
            <a:endParaRPr lang="nb-NO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FA7EFCBF-BB3F-4280-AD0B-3737C85D429C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756101"/>
            <a:ext cx="17310942" cy="4154038"/>
          </a:xfrm>
        </p:spPr>
        <p:txBody>
          <a:bodyPr wrap="square">
            <a:noAutofit/>
          </a:bodyPr>
          <a:lstStyle>
            <a:lvl1pPr>
              <a:lnSpc>
                <a:spcPct val="100000"/>
              </a:lnSpc>
              <a:defRPr sz="13000" b="0">
                <a:solidFill>
                  <a:schemeClr val="dk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sp>
        <p:nvSpPr>
          <p:cNvPr id="2" name="Plassholder for tekst 6">
            <a:extLst>
              <a:ext uri="{FF2B5EF4-FFF2-40B4-BE49-F238E27FC236}">
                <a16:creationId xmlns:a16="http://schemas.microsoft.com/office/drawing/2014/main" id="{ABC3A8EC-5657-E9EB-BEE4-6C4CF2D987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70" y="11938660"/>
            <a:ext cx="3423600" cy="101817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395531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dark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14">
            <a:extLst>
              <a:ext uri="{FF2B5EF4-FFF2-40B4-BE49-F238E27FC236}">
                <a16:creationId xmlns:a16="http://schemas.microsoft.com/office/drawing/2014/main" id="{1F6DCB07-7BB1-8DD4-57DC-BFEF48CEDC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E1C60B1C-7A03-4C12-8BE3-21D3C0299B44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sp>
        <p:nvSpPr>
          <p:cNvPr id="9" name="Plassholder for tekst 10">
            <a:extLst>
              <a:ext uri="{FF2B5EF4-FFF2-40B4-BE49-F238E27FC236}">
                <a16:creationId xmlns:a16="http://schemas.microsoft.com/office/drawing/2014/main" id="{DF3B7CA7-EAF1-6BED-CBE8-9993AAEDD8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70" y="11938660"/>
            <a:ext cx="3423600" cy="101817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7975051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with light imag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bilde 14">
            <a:extLst>
              <a:ext uri="{FF2B5EF4-FFF2-40B4-BE49-F238E27FC236}">
                <a16:creationId xmlns:a16="http://schemas.microsoft.com/office/drawing/2014/main" id="{1F6DCB07-7BB1-8DD4-57DC-BFEF48CEDCE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24382413" cy="137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tIns="1740535"/>
          <a:lstStyle>
            <a:lvl1pPr marL="457177" indent="-457177" algn="ctr" defTabSz="1828709" rtl="0" eaLnBrk="1" latinLnBrk="0" hangingPunct="1">
              <a:lnSpc>
                <a:spcPct val="100000"/>
              </a:lnSpc>
              <a:spcBef>
                <a:spcPts val="2000"/>
              </a:spcBef>
              <a:buFont typeface="Arial" panose="020B0604020202020204" pitchFamily="34" charset="0"/>
              <a:buNone/>
              <a:defRPr sz="4000"/>
            </a:lvl1pPr>
          </a:lstStyle>
          <a:p>
            <a:r>
              <a:rPr lang="nb-NO"/>
              <a:t>Klikk på ikonet for å legge til et bilde</a:t>
            </a:r>
            <a:endParaRPr lang="sv-SE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633FE833-F8BD-4607-9436-AF46360A71A2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2" name="Plassholder for tekst 6">
            <a:extLst>
              <a:ext uri="{FF2B5EF4-FFF2-40B4-BE49-F238E27FC236}">
                <a16:creationId xmlns:a16="http://schemas.microsoft.com/office/drawing/2014/main" id="{ABC3A8EC-5657-E9EB-BEE4-6C4CF2D9872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75470" y="11938660"/>
            <a:ext cx="3423600" cy="1018171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  <a:endParaRPr lang="sv-SE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856D613E-05F6-EC0A-5CC1-E51FADE381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dk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6457410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slide with illustration #1">
    <p:bg>
      <p:bgPr>
        <a:blipFill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D958D51-C25D-BDA0-1739-3188EAC1EE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fld id="{440EE3F9-7C0E-43AC-8ED4-532EB7BA2011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EC5E138E-CFE5-23E2-48E1-7AD40C1A6A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A669AF02-9B9E-693F-DAF4-45B19C6AB1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DAB80C5C-A2DC-1174-16D6-9E5B5F006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>
            <a:spAutoFit/>
          </a:bodyPr>
          <a:lstStyle>
            <a:lvl1pPr>
              <a:lnSpc>
                <a:spcPct val="100000"/>
              </a:lnSpc>
              <a:defRPr sz="13000" b="0">
                <a:solidFill>
                  <a:schemeClr val="lt1"/>
                </a:solidFill>
                <a:latin typeface="+mj-lt"/>
              </a:defRPr>
            </a:lvl1pPr>
          </a:lstStyle>
          <a:p>
            <a:r>
              <a:rPr lang="nb-NO"/>
              <a:t>Klikk for å redigere tittelstil</a:t>
            </a:r>
            <a:endParaRPr lang="sv-SE" dirty="0"/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00F7DA81-3C0A-D69A-A017-3E4DF21D85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  <p:pic>
        <p:nvPicPr>
          <p:cNvPr id="3" name="Grafikk 2">
            <a:extLst>
              <a:ext uri="{FF2B5EF4-FFF2-40B4-BE49-F238E27FC236}">
                <a16:creationId xmlns:a16="http://schemas.microsoft.com/office/drawing/2014/main" id="{CCE531D8-D239-207B-DBA2-E1850177234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80222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6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image" Target="../media/image16.emf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281B4DDA-7FFF-4900-C6DF-69EA199D9C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722" y="1281263"/>
            <a:ext cx="22390691" cy="92333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nb-NO" dirty="0"/>
              <a:t>Klikk for å redigere tittelstil</a:t>
            </a:r>
            <a:endParaRPr lang="sv-SE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A643F2D-181A-5041-20F4-AB4ECFBBFA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75722" y="3417554"/>
            <a:ext cx="22390691" cy="78219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sv-SE" dirty="0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E92990F-B493-AC82-DFB6-0B5EA4CAC61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358290"/>
            <a:ext cx="14402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BD8F61-ABA5-43A3-BA61-45A4FC38FFA4}" type="datetime1">
              <a:rPr lang="sv-SE" smtClean="0"/>
              <a:t>2024-05-06</a:t>
            </a:fld>
            <a:endParaRPr lang="sv-SE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A65FD74-F965-3BEA-0367-55B5124C8D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358290"/>
            <a:ext cx="14402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sv-SE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72E1EEE-09CC-DF03-FE63-EBA5C236A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7880370" y="12776907"/>
            <a:ext cx="5486043" cy="21544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1400">
                <a:solidFill>
                  <a:schemeClr val="dk1"/>
                </a:solidFill>
              </a:defRPr>
            </a:lvl1pPr>
          </a:lstStyle>
          <a:p>
            <a:fld id="{4EADB2E4-2809-4C85-B511-BAACE80F7AD9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F9C4CC11-2B25-C0CE-60BE-09821DFF5963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  <p:pic>
        <p:nvPicPr>
          <p:cNvPr id="7" name="Grafikk 6">
            <a:extLst>
              <a:ext uri="{FF2B5EF4-FFF2-40B4-BE49-F238E27FC236}">
                <a16:creationId xmlns:a16="http://schemas.microsoft.com/office/drawing/2014/main" id="{13ECD839-19EB-E0A1-BAC5-8D517934436F}"/>
              </a:ext>
            </a:extLst>
          </p:cNvPr>
          <p:cNvPicPr>
            <a:picLocks noChangeAspect="1"/>
          </p:cNvPicPr>
          <p:nvPr userDrawn="1"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975470" y="11938660"/>
            <a:ext cx="3423600" cy="1018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3465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5" r:id="rId24"/>
    <p:sldLayoutId id="2147483717" r:id="rId25"/>
    <p:sldLayoutId id="2147483752" r:id="rId26"/>
    <p:sldLayoutId id="2147483753" r:id="rId27"/>
  </p:sldLayoutIdLst>
  <p:hf hdr="0" ftr="0" dt="0"/>
  <p:txStyles>
    <p:titleStyle>
      <a:lvl1pPr algn="l" defTabSz="1828709" rtl="0" eaLnBrk="1" latinLnBrk="0" hangingPunct="1">
        <a:lnSpc>
          <a:spcPts val="7200"/>
        </a:lnSpc>
        <a:spcBef>
          <a:spcPct val="0"/>
        </a:spcBef>
        <a:buNone/>
        <a:defRPr sz="6000" b="1" kern="1200">
          <a:solidFill>
            <a:srgbClr val="B85429"/>
          </a:solidFill>
          <a:latin typeface="+mn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ts val="4800"/>
        </a:lnSpc>
        <a:spcBef>
          <a:spcPts val="3000"/>
        </a:spcBef>
        <a:buFont typeface="EB Garamond" panose="00000500000000000000" pitchFamily="2" charset="0"/>
        <a:buChar char="•"/>
        <a:defRPr sz="4000" kern="1200">
          <a:solidFill>
            <a:schemeClr val="dk1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ts val="4800"/>
        </a:lnSpc>
        <a:spcBef>
          <a:spcPts val="0"/>
        </a:spcBef>
        <a:buFont typeface="Arial" panose="020B0604020202020204" pitchFamily="34" charset="0"/>
        <a:buChar char="•"/>
        <a:defRPr sz="4000" kern="1200">
          <a:solidFill>
            <a:schemeClr val="dk1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ts val="4800"/>
        </a:lnSpc>
        <a:spcBef>
          <a:spcPts val="0"/>
        </a:spcBef>
        <a:buFont typeface="Arial" panose="020B0604020202020204" pitchFamily="34" charset="0"/>
        <a:buChar char="•"/>
        <a:defRPr sz="4000" kern="1200">
          <a:solidFill>
            <a:schemeClr val="dk1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ts val="4800"/>
        </a:lnSpc>
        <a:spcBef>
          <a:spcPts val="0"/>
        </a:spcBef>
        <a:buFont typeface="Arial" panose="020B0604020202020204" pitchFamily="34" charset="0"/>
        <a:buChar char="•"/>
        <a:defRPr sz="4000" kern="1200">
          <a:solidFill>
            <a:schemeClr val="dk1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ts val="4800"/>
        </a:lnSpc>
        <a:spcBef>
          <a:spcPts val="0"/>
        </a:spcBef>
        <a:buFont typeface="Arial" panose="020B0604020202020204" pitchFamily="34" charset="0"/>
        <a:buChar char="•"/>
        <a:defRPr sz="4000" kern="1200">
          <a:solidFill>
            <a:schemeClr val="dk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05" userDrawn="1">
          <p15:clr>
            <a:srgbClr val="F26B43"/>
          </p15:clr>
        </p15:guide>
        <p15:guide id="106" pos="15359" userDrawn="1">
          <p15:clr>
            <a:srgbClr val="F26B43"/>
          </p15:clr>
        </p15:guide>
        <p15:guide id="107" pos="639" userDrawn="1">
          <p15:clr>
            <a:srgbClr val="F26B43"/>
          </p15:clr>
        </p15:guide>
        <p15:guide id="108" pos="1279" userDrawn="1">
          <p15:clr>
            <a:srgbClr val="F26B43"/>
          </p15:clr>
        </p15:guide>
        <p15:guide id="109" pos="1919" userDrawn="1">
          <p15:clr>
            <a:srgbClr val="F26B43"/>
          </p15:clr>
        </p15:guide>
        <p15:guide id="110" pos="2559" userDrawn="1">
          <p15:clr>
            <a:srgbClr val="F26B43"/>
          </p15:clr>
        </p15:guide>
        <p15:guide id="111" pos="3199" userDrawn="1">
          <p15:clr>
            <a:srgbClr val="F26B43"/>
          </p15:clr>
        </p15:guide>
        <p15:guide id="112" pos="3839" userDrawn="1">
          <p15:clr>
            <a:srgbClr val="F26B43"/>
          </p15:clr>
        </p15:guide>
        <p15:guide id="113" pos="4479" userDrawn="1">
          <p15:clr>
            <a:srgbClr val="F26B43"/>
          </p15:clr>
        </p15:guide>
        <p15:guide id="114" pos="5139" userDrawn="1">
          <p15:clr>
            <a:srgbClr val="F26B43"/>
          </p15:clr>
        </p15:guide>
        <p15:guide id="115" pos="5759" userDrawn="1">
          <p15:clr>
            <a:srgbClr val="F26B43"/>
          </p15:clr>
        </p15:guide>
        <p15:guide id="116" pos="6399" userDrawn="1">
          <p15:clr>
            <a:srgbClr val="F26B43"/>
          </p15:clr>
        </p15:guide>
        <p15:guide id="117" pos="7039" userDrawn="1">
          <p15:clr>
            <a:srgbClr val="F26B43"/>
          </p15:clr>
        </p15:guide>
        <p15:guide id="118" pos="7679" userDrawn="1">
          <p15:clr>
            <a:srgbClr val="F26B43"/>
          </p15:clr>
        </p15:guide>
        <p15:guide id="119" pos="8319" userDrawn="1">
          <p15:clr>
            <a:srgbClr val="F26B43"/>
          </p15:clr>
        </p15:guide>
        <p15:guide id="120" pos="8959" userDrawn="1">
          <p15:clr>
            <a:srgbClr val="F26B43"/>
          </p15:clr>
        </p15:guide>
        <p15:guide id="121" pos="9599" userDrawn="1">
          <p15:clr>
            <a:srgbClr val="F26B43"/>
          </p15:clr>
        </p15:guide>
        <p15:guide id="122" pos="10239" userDrawn="1">
          <p15:clr>
            <a:srgbClr val="F26B43"/>
          </p15:clr>
        </p15:guide>
        <p15:guide id="123" pos="10879" userDrawn="1">
          <p15:clr>
            <a:srgbClr val="F26B43"/>
          </p15:clr>
        </p15:guide>
        <p15:guide id="124" pos="11519" userDrawn="1">
          <p15:clr>
            <a:srgbClr val="F26B43"/>
          </p15:clr>
        </p15:guide>
        <p15:guide id="125" pos="12159" userDrawn="1">
          <p15:clr>
            <a:srgbClr val="F26B43"/>
          </p15:clr>
        </p15:guide>
        <p15:guide id="126" pos="12799" userDrawn="1">
          <p15:clr>
            <a:srgbClr val="F26B43"/>
          </p15:clr>
        </p15:guide>
        <p15:guide id="127" pos="13440" userDrawn="1">
          <p15:clr>
            <a:srgbClr val="F26B43"/>
          </p15:clr>
        </p15:guide>
        <p15:guide id="128" pos="14079" userDrawn="1">
          <p15:clr>
            <a:srgbClr val="F26B43"/>
          </p15:clr>
        </p15:guide>
        <p15:guide id="129" pos="14719" userDrawn="1">
          <p15:clr>
            <a:srgbClr val="F26B43"/>
          </p15:clr>
        </p15:guide>
        <p15:guide id="130" orient="horz" userDrawn="1">
          <p15:clr>
            <a:srgbClr val="F26B43"/>
          </p15:clr>
        </p15:guide>
        <p15:guide id="131" orient="horz" pos="8640" userDrawn="1">
          <p15:clr>
            <a:srgbClr val="F26B43"/>
          </p15:clr>
        </p15:guide>
        <p15:guide id="132" orient="horz" pos="640" userDrawn="1">
          <p15:clr>
            <a:srgbClr val="F26B43"/>
          </p15:clr>
        </p15:guide>
        <p15:guide id="133" orient="horz" pos="946" userDrawn="1">
          <p15:clr>
            <a:srgbClr val="F26B43"/>
          </p15:clr>
        </p15:guide>
        <p15:guide id="134" orient="horz" pos="1253" userDrawn="1">
          <p15:clr>
            <a:srgbClr val="F26B43"/>
          </p15:clr>
        </p15:guide>
        <p15:guide id="135" orient="horz" pos="1530" userDrawn="1">
          <p15:clr>
            <a:srgbClr val="F26B43"/>
          </p15:clr>
        </p15:guide>
        <p15:guide id="136" orient="horz" pos="1866" userDrawn="1">
          <p15:clr>
            <a:srgbClr val="F26B43"/>
          </p15:clr>
        </p15:guide>
        <p15:guide id="137" orient="horz" pos="2173" userDrawn="1">
          <p15:clr>
            <a:srgbClr val="F26B43"/>
          </p15:clr>
        </p15:guide>
        <p15:guide id="138" orient="horz" pos="2480" userDrawn="1">
          <p15:clr>
            <a:srgbClr val="F26B43"/>
          </p15:clr>
        </p15:guide>
        <p15:guide id="139" orient="horz" pos="2786" userDrawn="1">
          <p15:clr>
            <a:srgbClr val="F26B43"/>
          </p15:clr>
        </p15:guide>
        <p15:guide id="140" orient="horz" pos="3093" userDrawn="1">
          <p15:clr>
            <a:srgbClr val="F26B43"/>
          </p15:clr>
        </p15:guide>
        <p15:guide id="141" orient="horz" pos="3400" userDrawn="1">
          <p15:clr>
            <a:srgbClr val="F26B43"/>
          </p15:clr>
        </p15:guide>
        <p15:guide id="142" orient="horz" pos="3706" userDrawn="1">
          <p15:clr>
            <a:srgbClr val="F26B43"/>
          </p15:clr>
        </p15:guide>
        <p15:guide id="143" orient="horz" pos="4013" userDrawn="1">
          <p15:clr>
            <a:srgbClr val="F26B43"/>
          </p15:clr>
        </p15:guide>
        <p15:guide id="144" orient="horz" pos="4320" userDrawn="1">
          <p15:clr>
            <a:srgbClr val="F26B43"/>
          </p15:clr>
        </p15:guide>
        <p15:guide id="145" orient="horz" pos="4626" userDrawn="1">
          <p15:clr>
            <a:srgbClr val="F26B43"/>
          </p15:clr>
        </p15:guide>
        <p15:guide id="146" orient="horz" pos="4933" userDrawn="1">
          <p15:clr>
            <a:srgbClr val="F26B43"/>
          </p15:clr>
        </p15:guide>
        <p15:guide id="147" orient="horz" pos="5240" userDrawn="1">
          <p15:clr>
            <a:srgbClr val="F26B43"/>
          </p15:clr>
        </p15:guide>
        <p15:guide id="148" orient="horz" pos="5546" userDrawn="1">
          <p15:clr>
            <a:srgbClr val="F26B43"/>
          </p15:clr>
        </p15:guide>
        <p15:guide id="149" orient="horz" pos="5853" userDrawn="1">
          <p15:clr>
            <a:srgbClr val="F26B43"/>
          </p15:clr>
        </p15:guide>
        <p15:guide id="150" orient="horz" pos="6160" userDrawn="1">
          <p15:clr>
            <a:srgbClr val="F26B43"/>
          </p15:clr>
        </p15:guide>
        <p15:guide id="151" orient="horz" pos="6466" userDrawn="1">
          <p15:clr>
            <a:srgbClr val="F26B43"/>
          </p15:clr>
        </p15:guide>
        <p15:guide id="152" orient="horz" pos="6773" userDrawn="1">
          <p15:clr>
            <a:srgbClr val="F26B43"/>
          </p15:clr>
        </p15:guide>
        <p15:guide id="153" orient="horz" pos="7080" userDrawn="1">
          <p15:clr>
            <a:srgbClr val="F26B43"/>
          </p15:clr>
        </p15:guide>
        <p15:guide id="154" orient="horz" pos="7386" userDrawn="1">
          <p15:clr>
            <a:srgbClr val="F26B43"/>
          </p15:clr>
        </p15:guide>
        <p15:guide id="155" orient="horz" pos="7693" userDrawn="1">
          <p15:clr>
            <a:srgbClr val="F26B43"/>
          </p15:clr>
        </p15:guide>
        <p15:guide id="156" orient="horz" pos="800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DB0F170-25CC-4316-B890-A8584037BD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39882742"/>
              </p:ext>
            </p:extLst>
          </p:nvPr>
        </p:nvGraphicFramePr>
        <p:xfrm>
          <a:off x="4237" y="4237"/>
          <a:ext cx="4234" cy="42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7DB0F170-25CC-4316-B890-A8584037BD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4237" y="4237"/>
                        <a:ext cx="4234" cy="42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999529" y="549278"/>
            <a:ext cx="21944172" cy="2286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999529" y="3200403"/>
            <a:ext cx="21944172" cy="905192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6" name="Bilde 5"/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223266" y="12788605"/>
            <a:ext cx="1720438" cy="46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42643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731" r:id="rId4"/>
    <p:sldLayoutId id="2147483732" r:id="rId5"/>
    <p:sldLayoutId id="2147483733" r:id="rId6"/>
    <p:sldLayoutId id="2147483734" r:id="rId7"/>
    <p:sldLayoutId id="2147483735" r:id="rId8"/>
    <p:sldLayoutId id="2147483736" r:id="rId9"/>
    <p:sldLayoutId id="2147483737" r:id="rId10"/>
    <p:sldLayoutId id="2147483738" r:id="rId11"/>
  </p:sldLayoutIdLst>
  <p:txStyles>
    <p:titleStyle>
      <a:lvl1pPr algn="l" defTabSz="2438218" rtl="0" eaLnBrk="1" latinLnBrk="0" hangingPunct="1">
        <a:spcBef>
          <a:spcPct val="0"/>
        </a:spcBef>
        <a:buNone/>
        <a:defRPr sz="64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914332" indent="-914332" algn="l" defTabSz="2438218" rtl="0" eaLnBrk="1" latinLnBrk="0" hangingPunct="1">
        <a:spcBef>
          <a:spcPct val="20000"/>
        </a:spcBef>
        <a:buFont typeface="Arial" pitchFamily="34" charset="0"/>
        <a:buChar char="•"/>
        <a:defRPr sz="6400" kern="1200">
          <a:solidFill>
            <a:schemeClr val="tx1"/>
          </a:solidFill>
          <a:latin typeface="+mn-lt"/>
          <a:ea typeface="+mn-ea"/>
          <a:cs typeface="+mn-cs"/>
        </a:defRPr>
      </a:lvl1pPr>
      <a:lvl2pPr marL="1981051" indent="-761942" algn="l" defTabSz="2438218" rtl="0" eaLnBrk="1" latinLnBrk="0" hangingPunct="1">
        <a:spcBef>
          <a:spcPct val="20000"/>
        </a:spcBef>
        <a:buFont typeface="Arial" pitchFamily="34" charset="0"/>
        <a:buChar char="•"/>
        <a:defRPr sz="5334" kern="1200">
          <a:solidFill>
            <a:schemeClr val="tx2"/>
          </a:solidFill>
          <a:latin typeface="+mn-lt"/>
          <a:ea typeface="+mn-ea"/>
          <a:cs typeface="+mn-cs"/>
        </a:defRPr>
      </a:lvl2pPr>
      <a:lvl3pPr marL="3047772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48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266881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4266" kern="1200">
          <a:solidFill>
            <a:schemeClr val="accent1"/>
          </a:solidFill>
          <a:latin typeface="+mn-lt"/>
          <a:ea typeface="+mn-ea"/>
          <a:cs typeface="+mn-cs"/>
        </a:defRPr>
      </a:lvl4pPr>
      <a:lvl5pPr marL="5485988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4266" kern="1200">
          <a:solidFill>
            <a:schemeClr val="accent1"/>
          </a:solidFill>
          <a:latin typeface="+mn-lt"/>
          <a:ea typeface="+mn-ea"/>
          <a:cs typeface="+mn-cs"/>
        </a:defRPr>
      </a:lvl5pPr>
      <a:lvl6pPr marL="6705097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5334" kern="1200">
          <a:solidFill>
            <a:schemeClr val="tx1"/>
          </a:solidFill>
          <a:latin typeface="+mn-lt"/>
          <a:ea typeface="+mn-ea"/>
          <a:cs typeface="+mn-cs"/>
        </a:defRPr>
      </a:lvl6pPr>
      <a:lvl7pPr marL="7924206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5334" kern="1200">
          <a:solidFill>
            <a:schemeClr val="tx1"/>
          </a:solidFill>
          <a:latin typeface="+mn-lt"/>
          <a:ea typeface="+mn-ea"/>
          <a:cs typeface="+mn-cs"/>
        </a:defRPr>
      </a:lvl7pPr>
      <a:lvl8pPr marL="9143315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5334" kern="1200">
          <a:solidFill>
            <a:schemeClr val="tx1"/>
          </a:solidFill>
          <a:latin typeface="+mn-lt"/>
          <a:ea typeface="+mn-ea"/>
          <a:cs typeface="+mn-cs"/>
        </a:defRPr>
      </a:lvl8pPr>
      <a:lvl9pPr marL="10362422" indent="-609554" algn="l" defTabSz="2438218" rtl="0" eaLnBrk="1" latinLnBrk="0" hangingPunct="1">
        <a:spcBef>
          <a:spcPct val="20000"/>
        </a:spcBef>
        <a:buFont typeface="Arial" pitchFamily="34" charset="0"/>
        <a:buChar char="•"/>
        <a:defRPr sz="533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1pPr>
      <a:lvl2pPr marL="1219109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2pPr>
      <a:lvl3pPr marL="2438218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3pPr>
      <a:lvl4pPr marL="3657325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4pPr>
      <a:lvl5pPr marL="4876434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5pPr>
      <a:lvl6pPr marL="6095543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314652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533759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752868" algn="l" defTabSz="2438218" rtl="0" eaLnBrk="1" latinLnBrk="0" hangingPunct="1"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484FE42-2741-B28E-8D9C-C9B6B0BF15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17130119"/>
              </p:ext>
            </p:extLst>
          </p:nvPr>
        </p:nvGraphicFramePr>
        <p:xfrm>
          <a:off x="3178" y="3178"/>
          <a:ext cx="3176" cy="317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53" imgH="353" progId="TCLayout.ActiveDocument.1">
                  <p:embed/>
                </p:oleObj>
              </mc:Choice>
              <mc:Fallback>
                <p:oleObj name="think-cell Slide" r:id="rId14" imgW="353" imgH="35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84FE42-2741-B28E-8D9C-C9B6B0BF15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3178" y="3178"/>
                        <a:ext cx="3176" cy="317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5CBD1E2-2B9A-5F47-9C14-DE84037462F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120011" y="12356753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lnSpc>
                <a:spcPct val="100000"/>
              </a:lnSpc>
              <a:defRPr sz="24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20F230A7-6E3D-F04D-AA24-FA374BBB361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3803AF5-1C6F-8B49-B55A-12277F6FC26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76359" y="12355341"/>
            <a:ext cx="5486043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lnSpc>
                <a:spcPct val="100000"/>
              </a:lnSpc>
              <a:defRPr sz="24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610FAA8E-EEBE-1640-862C-30D96CBD462D}" type="datetime1">
              <a:rPr lang="nb-NO" smtClean="0"/>
              <a:pPr/>
              <a:t>06.05.2024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328A817-D2C3-3844-B58B-1337FAF3F01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076675" y="12355337"/>
            <a:ext cx="8229064" cy="730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lnSpc>
                <a:spcPct val="100000"/>
              </a:lnSpc>
              <a:defRPr sz="2400">
                <a:solidFill>
                  <a:schemeClr val="accent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B3D3C9C-E275-D740-9928-4CE3F2E702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291" y="3651250"/>
            <a:ext cx="21029831" cy="836012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  <a:p>
            <a:pPr lvl="5"/>
            <a:r>
              <a:rPr lang="nb-NO"/>
              <a:t>Sjette nivå</a:t>
            </a:r>
          </a:p>
          <a:p>
            <a:pPr lvl="6"/>
            <a:r>
              <a:rPr lang="nb-NO"/>
              <a:t>Sjuende nivå</a:t>
            </a:r>
          </a:p>
          <a:p>
            <a:pPr lvl="7"/>
            <a:r>
              <a:rPr lang="nb-NO"/>
              <a:t>Åttende nivå</a:t>
            </a:r>
          </a:p>
          <a:p>
            <a:pPr lvl="8"/>
            <a:r>
              <a:rPr lang="nb-NO"/>
              <a:t>Niende nivå</a:t>
            </a:r>
          </a:p>
        </p:txBody>
      </p:sp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A5FCA875-0B41-9C4A-A564-063085143D6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291" y="730251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98760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  <p:sldLayoutId id="2147483751" r:id="rId11"/>
  </p:sldLayoutIdLst>
  <p:hf sldNum="0" hdr="0" ftr="0"/>
  <p:txStyles>
    <p:titleStyle>
      <a:lvl1pPr algn="l" defTabSz="1828663" rtl="0" eaLnBrk="1" latinLnBrk="0" hangingPunct="1">
        <a:lnSpc>
          <a:spcPct val="100000"/>
        </a:lnSpc>
        <a:spcBef>
          <a:spcPct val="0"/>
        </a:spcBef>
        <a:buNone/>
        <a:defRPr sz="4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65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371497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285828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200160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114492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5028823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5943155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6857485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8pPr>
      <a:lvl9pPr marL="7771817" indent="-457165" algn="l" defTabSz="18286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9pPr>
    </p:bodyStyle>
    <p:otherStyle>
      <a:defPPr>
        <a:defRPr lang="nb-NO"/>
      </a:defPPr>
      <a:lvl1pPr marL="0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32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663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2995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325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657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5988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320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652" algn="l" defTabSz="1828663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pixabay.com/de/die-erde-globus-karte-der-welt-1179205/" TargetMode="External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7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 descr="Et bilde som inneholder kart, tekst, atlas&#10;&#10;Automatisk generert beskrivelse">
            <a:extLst>
              <a:ext uri="{FF2B5EF4-FFF2-40B4-BE49-F238E27FC236}">
                <a16:creationId xmlns:a16="http://schemas.microsoft.com/office/drawing/2014/main" id="{04ACADE0-3333-EDE6-8E94-160603936AB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01" t="4904" r="2155" b="5113"/>
          <a:stretch/>
        </p:blipFill>
        <p:spPr>
          <a:xfrm>
            <a:off x="13224929" y="975470"/>
            <a:ext cx="11159067" cy="12740530"/>
          </a:xfrm>
          <a:prstGeom prst="rect">
            <a:avLst/>
          </a:prstGeom>
          <a:noFill/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3C71114-2F54-4508-AA80-A30FB450FBE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470" y="3827289"/>
            <a:ext cx="9200208" cy="4559582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sz="9600" i="1" dirty="0"/>
              <a:t>Internasjonalt reiseliv, sommer og posisjonering…</a:t>
            </a:r>
            <a:endParaRPr lang="sv-SE" i="1" dirty="0"/>
          </a:p>
        </p:txBody>
      </p:sp>
      <p:sp>
        <p:nvSpPr>
          <p:cNvPr id="14" name="Subtitle 3">
            <a:extLst>
              <a:ext uri="{FF2B5EF4-FFF2-40B4-BE49-F238E27FC236}">
                <a16:creationId xmlns:a16="http://schemas.microsoft.com/office/drawing/2014/main" id="{45FC071D-B535-E863-8F06-AD0196AAD77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75470" y="912477"/>
            <a:ext cx="9182943" cy="615553"/>
          </a:xfrm>
        </p:spPr>
        <p:txBody>
          <a:bodyPr/>
          <a:lstStyle/>
          <a:p>
            <a:r>
              <a:rPr lang="nb-NO" sz="4000" i="1" dirty="0"/>
              <a:t>Partnermøte, Søberg Gård 7. mai 2024</a:t>
            </a:r>
            <a:endParaRPr lang="en-US" sz="4000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6453C61-ED88-772E-6AA0-7403B6AC6A8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5470" y="1435685"/>
            <a:ext cx="9200208" cy="461665"/>
          </a:xfrm>
        </p:spPr>
        <p:txBody>
          <a:bodyPr wrap="square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2000" dirty="0"/>
              <a:t>Tove R. Martens, </a:t>
            </a:r>
          </a:p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sv-SE" sz="2000" dirty="0"/>
              <a:t>Daglig leder / reiselivssjef Visit Røros og Østerdalen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1BA67FBF-74C5-9457-5299-F7945B0ED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4EADB2E4-2809-4C85-B511-BAACE80F7AD9}" type="slidenum">
              <a:rPr lang="sv-SE" smtClean="0"/>
              <a:pPr>
                <a:spcAft>
                  <a:spcPts val="600"/>
                </a:spcAft>
              </a:pPr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20111954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5A2AC3B-FD9D-2CA5-7CF2-0EC26F444D4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470" y="3234622"/>
            <a:ext cx="9200208" cy="4559582"/>
          </a:xfrm>
        </p:spPr>
        <p:txBody>
          <a:bodyPr/>
          <a:lstStyle/>
          <a:p>
            <a:r>
              <a:rPr lang="en-US" sz="9600" dirty="0">
                <a:sym typeface="Wingdings" panose="05000000000000000000" pitchFamily="2" charset="2"/>
              </a:rPr>
              <a:t>Reiseliv </a:t>
            </a:r>
            <a:r>
              <a:rPr lang="en-US" sz="9600" dirty="0" err="1">
                <a:sym typeface="Wingdings" panose="05000000000000000000" pitchFamily="2" charset="2"/>
              </a:rPr>
              <a:t>som</a:t>
            </a:r>
            <a:r>
              <a:rPr lang="en-US" sz="9600" dirty="0">
                <a:sym typeface="Wingdings" panose="05000000000000000000" pitchFamily="2" charset="2"/>
              </a:rPr>
              <a:t> </a:t>
            </a:r>
            <a:r>
              <a:rPr lang="en-US" sz="9600" dirty="0" err="1">
                <a:sym typeface="Wingdings" panose="05000000000000000000" pitchFamily="2" charset="2"/>
              </a:rPr>
              <a:t>eksportnæring</a:t>
            </a:r>
            <a:r>
              <a:rPr lang="en-US" sz="9600" dirty="0">
                <a:sym typeface="Wingdings" panose="05000000000000000000" pitchFamily="2" charset="2"/>
              </a:rPr>
              <a:t>, og </a:t>
            </a:r>
            <a:r>
              <a:rPr lang="en-US" sz="9600" dirty="0" err="1">
                <a:sym typeface="Wingdings" panose="05000000000000000000" pitchFamily="2" charset="2"/>
              </a:rPr>
              <a:t>trender</a:t>
            </a:r>
            <a:r>
              <a:rPr lang="en-US" sz="9600" dirty="0">
                <a:sym typeface="Wingdings" panose="05000000000000000000" pitchFamily="2" charset="2"/>
              </a:rPr>
              <a:t> </a:t>
            </a:r>
            <a:r>
              <a:rPr lang="en-US" sz="9600" dirty="0" err="1">
                <a:sym typeface="Wingdings" panose="05000000000000000000" pitchFamily="2" charset="2"/>
              </a:rPr>
              <a:t>i</a:t>
            </a:r>
            <a:r>
              <a:rPr lang="en-US" sz="9600" dirty="0">
                <a:sym typeface="Wingdings" panose="05000000000000000000" pitchFamily="2" charset="2"/>
              </a:rPr>
              <a:t> </a:t>
            </a:r>
            <a:r>
              <a:rPr lang="en-US" sz="9600" dirty="0" err="1">
                <a:sym typeface="Wingdings" panose="05000000000000000000" pitchFamily="2" charset="2"/>
              </a:rPr>
              <a:t>reiselivet</a:t>
            </a:r>
            <a:r>
              <a:rPr lang="en-US" sz="9600" dirty="0">
                <a:sym typeface="Wingdings" panose="05000000000000000000" pitchFamily="2" charset="2"/>
              </a:rPr>
              <a:t> </a:t>
            </a:r>
            <a:r>
              <a:rPr lang="en-US" sz="9600" dirty="0" err="1">
                <a:sym typeface="Wingdings" panose="05000000000000000000" pitchFamily="2" charset="2"/>
              </a:rPr>
              <a:t>fremover</a:t>
            </a:r>
            <a:endParaRPr lang="nb-NO" dirty="0"/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22BD2608-9DC8-DCD6-13A3-7162277B8421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err="1"/>
              <a:t>Parntermøte</a:t>
            </a:r>
            <a:r>
              <a:rPr lang="nb-NO" dirty="0"/>
              <a:t> 7. mai 2024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1956EEFC-86F6-6BD8-9D50-F429D384A3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DB2E4-2809-4C85-B511-BAACE80F7AD9}" type="slidenum">
              <a:rPr lang="sv-SE" smtClean="0"/>
              <a:pPr/>
              <a:t>10</a:t>
            </a:fld>
            <a:endParaRPr lang="sv-SE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9DCDB22F-FD1E-BB02-3C9E-EF0DC1AC7D7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Audun Pettersen, Bransjedirektør Reiseliv, Virke</a:t>
            </a:r>
          </a:p>
        </p:txBody>
      </p:sp>
      <p:pic>
        <p:nvPicPr>
          <p:cNvPr id="10" name="Bilde 9" descr="Et bilde som inneholder Jorden, planet, kart, Verden&#10;&#10;Automatisk generert beskrivelse">
            <a:extLst>
              <a:ext uri="{FF2B5EF4-FFF2-40B4-BE49-F238E27FC236}">
                <a16:creationId xmlns:a16="http://schemas.microsoft.com/office/drawing/2014/main" id="{92884B2B-4AB4-F563-2EDF-484F825E01B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3"/>
              </a:ext>
            </a:extLst>
          </a:blip>
          <a:stretch>
            <a:fillRect/>
          </a:stretch>
        </p:blipFill>
        <p:spPr>
          <a:xfrm>
            <a:off x="15544005" y="2929467"/>
            <a:ext cx="6976533" cy="6976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6489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FDD4B4BA-5A54-6C7D-F7C5-C59323DEEE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DB2E4-2809-4C85-B511-BAACE80F7AD9}" type="slidenum">
              <a:rPr lang="sv-SE" smtClean="0"/>
              <a:pPr/>
              <a:t>11</a:t>
            </a:fld>
            <a:endParaRPr lang="sv-SE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7F40AB4F-F141-D299-1EEC-DE38DF75EC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Workshop</a:t>
            </a:r>
          </a:p>
        </p:txBody>
      </p:sp>
    </p:spTree>
    <p:extLst>
      <p:ext uri="{BB962C8B-B14F-4D97-AF65-F5344CB8AC3E}">
        <p14:creationId xmlns:p14="http://schemas.microsoft.com/office/powerpoint/2010/main" val="279187096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FE6AC6C-F1A2-E10C-F44E-76861D892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70" y="12776907"/>
            <a:ext cx="5486043" cy="2154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4EADB2E4-2809-4C85-B511-BAACE80F7AD9}" type="slidenum">
              <a:rPr lang="sv-SE" smtClean="0"/>
              <a:pPr>
                <a:spcAft>
                  <a:spcPts val="600"/>
                </a:spcAft>
              </a:pPr>
              <a:t>12</a:t>
            </a:fld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5738E52-C418-D01F-D3B0-952D79088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991" y="1600046"/>
            <a:ext cx="7087997" cy="7309693"/>
          </a:xfrm>
        </p:spPr>
        <p:txBody>
          <a:bodyPr wrap="square" anchor="t">
            <a:normAutofit/>
          </a:bodyPr>
          <a:lstStyle/>
          <a:p>
            <a:r>
              <a:rPr lang="nb-NO" dirty="0"/>
              <a:t>Overnattingsstatistikk 2023, hele Norge</a:t>
            </a:r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84695378-4666-B6C8-D723-A3598EDA77F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87844" y="2135073"/>
            <a:ext cx="14518329" cy="9001362"/>
          </a:xfrm>
          <a:prstGeom prst="rect">
            <a:avLst/>
          </a:prstGeom>
          <a:noFill/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8E27D30-E53D-8128-151E-51675A576F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88" y="4594226"/>
            <a:ext cx="7088691" cy="7716720"/>
          </a:xfrm>
        </p:spPr>
        <p:txBody>
          <a:bodyPr>
            <a:normAutofit/>
          </a:bodyPr>
          <a:lstStyle/>
          <a:p>
            <a:r>
              <a:rPr lang="en-US" dirty="0" err="1"/>
              <a:t>Oppgang</a:t>
            </a:r>
            <a:r>
              <a:rPr lang="en-US" dirty="0"/>
              <a:t> </a:t>
            </a:r>
            <a:r>
              <a:rPr lang="en-US" dirty="0" err="1"/>
              <a:t>totalt</a:t>
            </a:r>
            <a:r>
              <a:rPr lang="en-US" dirty="0"/>
              <a:t> </a:t>
            </a:r>
            <a:r>
              <a:rPr lang="en-US" dirty="0" err="1"/>
              <a:t>på</a:t>
            </a:r>
            <a:r>
              <a:rPr lang="en-US" dirty="0"/>
              <a:t> 3%</a:t>
            </a:r>
          </a:p>
          <a:p>
            <a:r>
              <a:rPr lang="nb-NO" dirty="0"/>
              <a:t>Nedga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antall</a:t>
            </a:r>
            <a:r>
              <a:rPr lang="en-US" dirty="0"/>
              <a:t> </a:t>
            </a:r>
            <a:r>
              <a:rPr lang="en-US" dirty="0" err="1"/>
              <a:t>nordmenn</a:t>
            </a:r>
            <a:r>
              <a:rPr lang="en-US" dirty="0"/>
              <a:t>, -2%</a:t>
            </a:r>
          </a:p>
          <a:p>
            <a:r>
              <a:rPr lang="en-US" dirty="0" err="1"/>
              <a:t>Oppgang</a:t>
            </a:r>
            <a:r>
              <a:rPr lang="en-US" dirty="0"/>
              <a:t> I </a:t>
            </a:r>
            <a:r>
              <a:rPr lang="en-US" dirty="0" err="1"/>
              <a:t>antall</a:t>
            </a:r>
            <a:r>
              <a:rPr lang="en-US" dirty="0"/>
              <a:t> </a:t>
            </a:r>
            <a:r>
              <a:rPr lang="en-US" dirty="0" err="1"/>
              <a:t>utlendinger</a:t>
            </a:r>
            <a:r>
              <a:rPr lang="en-US" dirty="0"/>
              <a:t>, +13%</a:t>
            </a:r>
          </a:p>
          <a:p>
            <a:r>
              <a:rPr lang="en-US" dirty="0"/>
              <a:t>“7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topp</a:t>
            </a:r>
            <a:r>
              <a:rPr lang="en-US" dirty="0"/>
              <a:t>“ </a:t>
            </a:r>
            <a:r>
              <a:rPr lang="en-US" dirty="0" err="1"/>
              <a:t>reisemå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593924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FE6AC6C-F1A2-E10C-F44E-76861D892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70" y="12776907"/>
            <a:ext cx="5486043" cy="2154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4EADB2E4-2809-4C85-B511-BAACE80F7AD9}" type="slidenum">
              <a:rPr lang="sv-SE" smtClean="0"/>
              <a:pPr>
                <a:spcAft>
                  <a:spcPts val="600"/>
                </a:spcAft>
              </a:pPr>
              <a:t>13</a:t>
            </a:fld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5738E52-C418-D01F-D3B0-952D79088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991" y="1600046"/>
            <a:ext cx="7087997" cy="2719035"/>
          </a:xfrm>
        </p:spPr>
        <p:txBody>
          <a:bodyPr wrap="square" anchor="t">
            <a:normAutofit fontScale="90000"/>
          </a:bodyPr>
          <a:lstStyle/>
          <a:p>
            <a:r>
              <a:rPr lang="nb-NO" dirty="0"/>
              <a:t>Overnattingsstatistikk 2023 Røros og Østerdalen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9456EC10-5FE9-4A03-7C85-77B41C9705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7844" y="2189516"/>
            <a:ext cx="14518329" cy="8892475"/>
          </a:xfrm>
          <a:prstGeom prst="rect">
            <a:avLst/>
          </a:prstGeom>
          <a:noFill/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8E27D30-E53D-8128-151E-51675A576F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88" y="4594226"/>
            <a:ext cx="7088691" cy="7716720"/>
          </a:xfrm>
        </p:spPr>
        <p:txBody>
          <a:bodyPr>
            <a:normAutofit/>
          </a:bodyPr>
          <a:lstStyle/>
          <a:p>
            <a:r>
              <a:rPr lang="en-US" dirty="0" err="1"/>
              <a:t>Rørosregionen</a:t>
            </a:r>
            <a:r>
              <a:rPr lang="en-US" dirty="0"/>
              <a:t> = </a:t>
            </a:r>
          </a:p>
          <a:p>
            <a:pPr lvl="1"/>
            <a:r>
              <a:rPr lang="en-US" sz="4000" dirty="0"/>
              <a:t>Røros og </a:t>
            </a:r>
            <a:r>
              <a:rPr lang="en-US" sz="4000" dirty="0" err="1"/>
              <a:t>Holtålen</a:t>
            </a:r>
            <a:endParaRPr lang="en-US" sz="4000" dirty="0"/>
          </a:p>
          <a:p>
            <a:r>
              <a:rPr lang="en-US" dirty="0"/>
              <a:t>Østerdalen = </a:t>
            </a:r>
          </a:p>
          <a:p>
            <a:pPr lvl="1"/>
            <a:r>
              <a:rPr lang="nb-NO" sz="4000" dirty="0"/>
              <a:t>Alvdal, Engerdal, Os, Tynset, Tolga, Rendalen, Stor-Elvdal, Åmot, Folldal</a:t>
            </a:r>
            <a:endParaRPr lang="en-US" sz="4000" dirty="0"/>
          </a:p>
          <a:p>
            <a:pPr lvl="1"/>
            <a:endParaRPr lang="en-US" sz="4000" dirty="0"/>
          </a:p>
          <a:p>
            <a:r>
              <a:rPr lang="en-US" dirty="0" err="1"/>
              <a:t>Nedgang</a:t>
            </a:r>
            <a:r>
              <a:rPr lang="en-US" dirty="0"/>
              <a:t>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internasjonale</a:t>
            </a:r>
            <a:r>
              <a:rPr lang="en-US" dirty="0"/>
              <a:t> </a:t>
            </a:r>
            <a:r>
              <a:rPr lang="en-US" dirty="0" err="1"/>
              <a:t>gjest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4809760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FE6AC6C-F1A2-E10C-F44E-76861D8929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70" y="12776907"/>
            <a:ext cx="5486043" cy="2154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4EADB2E4-2809-4C85-B511-BAACE80F7AD9}" type="slidenum">
              <a:rPr lang="sv-SE" smtClean="0"/>
              <a:pPr>
                <a:spcAft>
                  <a:spcPts val="600"/>
                </a:spcAft>
              </a:pPr>
              <a:t>14</a:t>
            </a:fld>
            <a:endParaRPr lang="sv-SE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5738E52-C418-D01F-D3B0-952D790886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991" y="1600046"/>
            <a:ext cx="7087997" cy="3789077"/>
          </a:xfrm>
        </p:spPr>
        <p:txBody>
          <a:bodyPr wrap="square" anchor="t">
            <a:normAutofit/>
          </a:bodyPr>
          <a:lstStyle/>
          <a:p>
            <a:r>
              <a:rPr lang="nb-NO" dirty="0"/>
              <a:t>Overnattingsstatistikk 2023 utvalgte reisemål med internasjonal vekst</a:t>
            </a:r>
          </a:p>
        </p:txBody>
      </p:sp>
      <p:pic>
        <p:nvPicPr>
          <p:cNvPr id="6" name="Bilde 5" descr="Et bilde som inneholder tekst, skjermbilde, nummer, Parallell&#10;&#10;Automatisk generert beskrivelse">
            <a:extLst>
              <a:ext uri="{FF2B5EF4-FFF2-40B4-BE49-F238E27FC236}">
                <a16:creationId xmlns:a16="http://schemas.microsoft.com/office/drawing/2014/main" id="{AA1CC8EA-4A55-C380-553F-014423C41D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7844" y="2153220"/>
            <a:ext cx="14518329" cy="8965068"/>
          </a:xfrm>
          <a:prstGeom prst="rect">
            <a:avLst/>
          </a:prstGeom>
          <a:noFill/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8E27D30-E53D-8128-151E-51675A576FE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88" y="5622586"/>
            <a:ext cx="7088691" cy="6688359"/>
          </a:xfrm>
        </p:spPr>
        <p:txBody>
          <a:bodyPr>
            <a:normAutofit/>
          </a:bodyPr>
          <a:lstStyle/>
          <a:p>
            <a:r>
              <a:rPr lang="en-US" dirty="0" err="1"/>
              <a:t>Lofoten</a:t>
            </a:r>
            <a:endParaRPr lang="en-US" dirty="0"/>
          </a:p>
          <a:p>
            <a:r>
              <a:rPr lang="en-US" dirty="0" err="1"/>
              <a:t>Tromsø</a:t>
            </a:r>
            <a:endParaRPr lang="en-US" dirty="0"/>
          </a:p>
          <a:p>
            <a:r>
              <a:rPr lang="en-US" dirty="0"/>
              <a:t>Trondheim</a:t>
            </a:r>
          </a:p>
          <a:p>
            <a:r>
              <a:rPr lang="en-US" dirty="0" err="1"/>
              <a:t>Bergensregionen</a:t>
            </a:r>
            <a:endParaRPr lang="en-US" dirty="0"/>
          </a:p>
          <a:p>
            <a:r>
              <a:rPr lang="en-US" dirty="0"/>
              <a:t>Oslo</a:t>
            </a:r>
          </a:p>
        </p:txBody>
      </p:sp>
    </p:spTree>
    <p:extLst>
      <p:ext uri="{BB962C8B-B14F-4D97-AF65-F5344CB8AC3E}">
        <p14:creationId xmlns:p14="http://schemas.microsoft.com/office/powerpoint/2010/main" val="1139443724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3FF5B59-CD8B-1750-7F7D-A1BE5CFC0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78806" y="153038"/>
            <a:ext cx="13120058" cy="2286000"/>
          </a:xfrm>
        </p:spPr>
        <p:txBody>
          <a:bodyPr anchor="ctr">
            <a:normAutofit/>
          </a:bodyPr>
          <a:lstStyle/>
          <a:p>
            <a:r>
              <a:rPr lang="en-US" dirty="0" err="1"/>
              <a:t>Oppgave</a:t>
            </a:r>
            <a:r>
              <a:rPr lang="en-US" dirty="0"/>
              <a:t> A:</a:t>
            </a:r>
            <a:br>
              <a:rPr lang="en-US" dirty="0"/>
            </a:br>
            <a:r>
              <a:rPr lang="en-US" dirty="0"/>
              <a:t>Lufthansa – München - Trondheim</a:t>
            </a:r>
          </a:p>
        </p:txBody>
      </p:sp>
      <p:pic>
        <p:nvPicPr>
          <p:cNvPr id="5" name="Plassholder for innhold 4" descr="Et bilde som inneholder tekst, skjermbilde, Font, kart&#10;&#10;Automatisk generert beskrivelse">
            <a:extLst>
              <a:ext uri="{FF2B5EF4-FFF2-40B4-BE49-F238E27FC236}">
                <a16:creationId xmlns:a16="http://schemas.microsoft.com/office/drawing/2014/main" id="{062231C8-43AA-9FDC-E4B9-04432804322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807" y="5852160"/>
            <a:ext cx="13641593" cy="7673394"/>
          </a:xfrm>
          <a:noFill/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0F557952-A3F7-98E4-1608-EE87E8BE6013}"/>
              </a:ext>
            </a:extLst>
          </p:cNvPr>
          <p:cNvSpPr txBox="1"/>
          <p:nvPr/>
        </p:nvSpPr>
        <p:spPr>
          <a:xfrm>
            <a:off x="9878806" y="2499998"/>
            <a:ext cx="14215633" cy="32232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lnSpc>
                <a:spcPts val="5000"/>
              </a:lnSpc>
              <a:buNone/>
            </a:pPr>
            <a:r>
              <a:rPr lang="en-US" i="1" dirty="0" err="1"/>
              <a:t>Hvordan</a:t>
            </a:r>
            <a:r>
              <a:rPr lang="en-US" i="1" dirty="0"/>
              <a:t> </a:t>
            </a:r>
            <a:r>
              <a:rPr lang="en-US" i="1" dirty="0" err="1"/>
              <a:t>kan</a:t>
            </a:r>
            <a:r>
              <a:rPr lang="en-US" i="1" dirty="0"/>
              <a:t> vi </a:t>
            </a:r>
            <a:r>
              <a:rPr lang="en-US" i="1" dirty="0" err="1"/>
              <a:t>bidra</a:t>
            </a:r>
            <a:r>
              <a:rPr lang="en-US" i="1" dirty="0"/>
              <a:t> til </a:t>
            </a:r>
            <a:r>
              <a:rPr lang="en-US" i="1" dirty="0" err="1"/>
              <a:t>flere</a:t>
            </a:r>
            <a:r>
              <a:rPr lang="en-US" i="1" dirty="0"/>
              <a:t> </a:t>
            </a:r>
            <a:r>
              <a:rPr lang="en-US" i="1" dirty="0" err="1"/>
              <a:t>ukentlige</a:t>
            </a:r>
            <a:r>
              <a:rPr lang="en-US" i="1" dirty="0"/>
              <a:t> </a:t>
            </a:r>
            <a:r>
              <a:rPr lang="en-US" i="1" dirty="0" err="1"/>
              <a:t>avganger</a:t>
            </a:r>
            <a:r>
              <a:rPr lang="en-US" i="1" dirty="0"/>
              <a:t> og </a:t>
            </a:r>
            <a:r>
              <a:rPr lang="en-US" i="1" dirty="0" err="1"/>
              <a:t>vinteravganger</a:t>
            </a:r>
            <a:r>
              <a:rPr lang="en-US" i="1" dirty="0"/>
              <a:t>?</a:t>
            </a:r>
          </a:p>
          <a:p>
            <a:pPr marL="0" indent="0">
              <a:lnSpc>
                <a:spcPts val="5000"/>
              </a:lnSpc>
              <a:buNone/>
            </a:pPr>
            <a:r>
              <a:rPr lang="nb-NO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gionen må bygge/videreutvikle produktene «</a:t>
            </a:r>
            <a:r>
              <a:rPr lang="nb-NO" sz="24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Reasons</a:t>
            </a:r>
            <a:r>
              <a:rPr lang="nb-NO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 to </a:t>
            </a:r>
            <a:r>
              <a:rPr lang="nb-NO" sz="2400" dirty="0" err="1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Come</a:t>
            </a:r>
            <a:r>
              <a:rPr lang="nb-NO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». Hvordan kan vi ta ut potensialet?</a:t>
            </a:r>
          </a:p>
          <a:p>
            <a:pPr marL="0" indent="0">
              <a:lnSpc>
                <a:spcPts val="5000"/>
              </a:lnSpc>
              <a:buNone/>
            </a:pPr>
            <a:r>
              <a:rPr lang="nb-NO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Times New Roman" panose="02020603050405020304" pitchFamily="18" charset="0"/>
              </a:rPr>
              <a:t>Tenk infrastruktur, fly, jernbane og rundreise/en vei, opplevelser, overnatting osv.</a:t>
            </a:r>
          </a:p>
          <a:p>
            <a:pPr marL="0" indent="0">
              <a:lnSpc>
                <a:spcPts val="5000"/>
              </a:lnSpc>
              <a:buNone/>
            </a:pPr>
            <a:r>
              <a:rPr lang="nb-NO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Hvordan kan vi løfte oss? </a:t>
            </a:r>
            <a:endParaRPr lang="nb-NO" sz="2400" dirty="0"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  <a:p>
            <a:pPr marL="0" indent="0">
              <a:lnSpc>
                <a:spcPts val="5000"/>
              </a:lnSpc>
              <a:buNone/>
            </a:pPr>
            <a:r>
              <a:rPr lang="nb-NO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Vær konkret.</a:t>
            </a:r>
            <a:endParaRPr lang="nb-NO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7043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bilde 8" descr="Et bilde som inneholder utendørs, konstruksjon, tre, vann&#10;&#10;Automatisk generert beskrivelse">
            <a:extLst>
              <a:ext uri="{FF2B5EF4-FFF2-40B4-BE49-F238E27FC236}">
                <a16:creationId xmlns:a16="http://schemas.microsoft.com/office/drawing/2014/main" id="{9313072C-EC93-2E14-25DF-6FA34F3AC772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0" r="5450"/>
          <a:stretch>
            <a:fillRect/>
          </a:stretch>
        </p:blipFill>
        <p:spPr>
          <a:xfrm rot="5400000">
            <a:off x="12631738" y="1965325"/>
            <a:ext cx="12760325" cy="10741025"/>
          </a:xfr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824AFAAC-1F53-80AA-7BD0-C2CE78F5400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722" y="1074207"/>
            <a:ext cx="12123590" cy="4479925"/>
          </a:xfrm>
        </p:spPr>
        <p:txBody>
          <a:bodyPr wrap="square" anchor="t">
            <a:noAutofit/>
          </a:bodyPr>
          <a:lstStyle/>
          <a:p>
            <a:pPr>
              <a:lnSpc>
                <a:spcPct val="100000"/>
              </a:lnSpc>
            </a:pPr>
            <a:r>
              <a:rPr lang="nb-NO" dirty="0"/>
              <a:t>Oppgave B:</a:t>
            </a:r>
            <a:br>
              <a:rPr lang="nb-NO" dirty="0"/>
            </a:br>
            <a:br>
              <a:rPr lang="nb-NO" dirty="0"/>
            </a:br>
            <a:r>
              <a:rPr lang="nb-NO" dirty="0"/>
              <a:t>Røros og Østerdalen – Det internasjonale markedet vil ha naturopplevelser…</a:t>
            </a:r>
            <a:br>
              <a:rPr lang="nb-NO" sz="4400" dirty="0"/>
            </a:br>
            <a:endParaRPr lang="nb-NO" sz="4400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02791913-9A9D-3AD8-D53C-9F4AAEDD97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70" y="12776907"/>
            <a:ext cx="5486043" cy="2154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4EADB2E4-2809-4C85-B511-BAACE80F7AD9}" type="slidenum">
              <a:rPr lang="sv-SE" smtClean="0"/>
              <a:pPr>
                <a:spcAft>
                  <a:spcPts val="600"/>
                </a:spcAft>
              </a:pPr>
              <a:t>16</a:t>
            </a:fld>
            <a:endParaRPr lang="sv-SE"/>
          </a:p>
        </p:txBody>
      </p:sp>
      <p:sp>
        <p:nvSpPr>
          <p:cNvPr id="195" name="290.000 gjestedøgn i regionen hvert år…"/>
          <p:cNvSpPr txBox="1"/>
          <p:nvPr/>
        </p:nvSpPr>
        <p:spPr>
          <a:xfrm>
            <a:off x="840254" y="6316888"/>
            <a:ext cx="11910545" cy="4647426"/>
          </a:xfrm>
          <a:prstGeom prst="rect">
            <a:avLst/>
          </a:prstGeom>
          <a:noFill/>
          <a:extLst>
            <a:ext uri="{C572A759-6A51-4108-AA02-DFA0A04FC94B}">
              <ma14:wrappingTextBoxFlag xmlns="" xmlns:ma14="http://schemas.microsoft.com/office/mac/drawingml/2011/main" xmlns:a14="http://schemas.microsoft.com/office/drawing/2010/main" xmlns:m="http://schemas.openxmlformats.org/officeDocument/2006/math" val="1"/>
            </a:ext>
          </a:extLst>
        </p:spPr>
        <p:txBody>
          <a:bodyPr wrap="square">
            <a:spAutoFit/>
          </a:bodyPr>
          <a:lstStyle>
            <a:defPPr>
              <a:defRPr lang="nb-NO"/>
            </a:defPPr>
            <a:lvl1pPr indent="0">
              <a:lnSpc>
                <a:spcPts val="5000"/>
              </a:lnSpc>
              <a:buNone/>
              <a:defRPr i="1"/>
            </a:lvl1pPr>
          </a:lstStyle>
          <a:p>
            <a:pPr lvl="1"/>
            <a:r>
              <a:rPr lang="nb-NO" sz="4000" i="1" dirty="0"/>
              <a:t>Hvordan kan vi ta en posisjon her og få en større markedsandel?</a:t>
            </a:r>
          </a:p>
          <a:p>
            <a:pPr lvl="1"/>
            <a:endParaRPr lang="nb-NO" dirty="0"/>
          </a:p>
          <a:p>
            <a:pPr lvl="1"/>
            <a:r>
              <a:rPr lang="nb-NO" dirty="0"/>
              <a:t>Tenk samarbeid (Trysil, Femund-Engerdal, Øst-Norge, </a:t>
            </a:r>
            <a:r>
              <a:rPr lang="nb-NO" dirty="0" err="1"/>
              <a:t>Funäsdalen</a:t>
            </a:r>
            <a:r>
              <a:rPr lang="nb-NO" dirty="0"/>
              <a:t>…)</a:t>
            </a:r>
          </a:p>
          <a:p>
            <a:pPr lvl="1"/>
            <a:endParaRPr lang="nb-NO" dirty="0"/>
          </a:p>
          <a:p>
            <a:pPr lvl="1"/>
            <a:r>
              <a:rPr lang="nb-NO" dirty="0"/>
              <a:t>Hvordan kan vi få samme attraksjonskraft som </a:t>
            </a:r>
            <a:r>
              <a:rPr lang="nb-NO" i="1" dirty="0"/>
              <a:t>«Fjord &amp; Nord»</a:t>
            </a:r>
            <a:r>
              <a:rPr lang="nb-NO" dirty="0"/>
              <a:t> har?</a:t>
            </a:r>
          </a:p>
        </p:txBody>
      </p:sp>
    </p:spTree>
    <p:extLst>
      <p:ext uri="{BB962C8B-B14F-4D97-AF65-F5344CB8AC3E}">
        <p14:creationId xmlns:p14="http://schemas.microsoft.com/office/powerpoint/2010/main" val="205958316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63FF5B59-CD8B-1750-7F7D-A1BE5CFC00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878807" y="549278"/>
            <a:ext cx="13120058" cy="2286000"/>
          </a:xfrm>
        </p:spPr>
        <p:txBody>
          <a:bodyPr anchor="ctr">
            <a:normAutofit/>
          </a:bodyPr>
          <a:lstStyle/>
          <a:p>
            <a:r>
              <a:rPr lang="en-US" dirty="0"/>
              <a:t>Lufthansa – München - Trondheim</a:t>
            </a:r>
          </a:p>
        </p:txBody>
      </p:sp>
      <p:pic>
        <p:nvPicPr>
          <p:cNvPr id="5" name="Plassholder for innhold 4" descr="Et bilde som inneholder tekst, skjermbilde, Font, kart&#10;&#10;Automatisk generert beskrivelse">
            <a:extLst>
              <a:ext uri="{FF2B5EF4-FFF2-40B4-BE49-F238E27FC236}">
                <a16:creationId xmlns:a16="http://schemas.microsoft.com/office/drawing/2014/main" id="{062231C8-43AA-9FDC-E4B9-044328043228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8807" y="4129097"/>
            <a:ext cx="13073005" cy="7353563"/>
          </a:xfrm>
          <a:noFill/>
        </p:spPr>
      </p:pic>
    </p:spTree>
    <p:extLst>
      <p:ext uri="{BB962C8B-B14F-4D97-AF65-F5344CB8AC3E}">
        <p14:creationId xmlns:p14="http://schemas.microsoft.com/office/powerpoint/2010/main" val="294154068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0E50ACFB-5082-321A-62E4-F3BDE5FC24F5}"/>
              </a:ext>
            </a:extLst>
          </p:cNvPr>
          <p:cNvSpPr>
            <a:spLocks noGrp="1"/>
          </p:cNvSpPr>
          <p:nvPr>
            <p:ph type="body" idx="12"/>
          </p:nvPr>
        </p:nvSpPr>
        <p:spPr/>
        <p:txBody>
          <a:bodyPr/>
          <a:lstStyle/>
          <a:p>
            <a:r>
              <a:rPr lang="sv-SE" dirty="0"/>
              <a:t>Tove R. Martens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0A14F14-BC90-3D07-A807-EF2FCA70E69C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sv-SE" dirty="0"/>
              <a:t>Daglig leder / </a:t>
            </a:r>
            <a:r>
              <a:rPr lang="sv-SE" dirty="0" err="1"/>
              <a:t>Reiselivssjef</a:t>
            </a:r>
            <a:endParaRPr lang="sv-SE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7390C4C-6E29-012C-4D73-E1F3D961230D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sv-SE" dirty="0"/>
              <a:t>Tove.martens@rorosinfo.com</a:t>
            </a:r>
          </a:p>
        </p:txBody>
      </p:sp>
    </p:spTree>
    <p:extLst>
      <p:ext uri="{BB962C8B-B14F-4D97-AF65-F5344CB8AC3E}">
        <p14:creationId xmlns:p14="http://schemas.microsoft.com/office/powerpoint/2010/main" val="37593671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8DFAF333-A97C-D376-BFCB-7CFB85EEA9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DB2E4-2809-4C85-B511-BAACE80F7AD9}" type="slidenum">
              <a:rPr lang="sv-SE" smtClean="0"/>
              <a:pPr/>
              <a:t>2</a:t>
            </a:fld>
            <a:endParaRPr lang="sv-SE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379D8D7D-DFCA-8580-420D-3EEF109013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4984" y="4956212"/>
            <a:ext cx="17310942" cy="1477328"/>
          </a:xfrm>
        </p:spPr>
        <p:txBody>
          <a:bodyPr/>
          <a:lstStyle/>
          <a:p>
            <a:r>
              <a:rPr lang="nb-NO" sz="9600" dirty="0">
                <a:latin typeface="Calibri" panose="020F0502020204030204" pitchFamily="34" charset="0"/>
                <a:cs typeface="Calibri" panose="020F0502020204030204" pitchFamily="34" charset="0"/>
              </a:rPr>
              <a:t>Program for dag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9646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">
            <a:extLst>
              <a:ext uri="{FF2B5EF4-FFF2-40B4-BE49-F238E27FC236}">
                <a16:creationId xmlns:a16="http://schemas.microsoft.com/office/drawing/2014/main" id="{24E6D9A2-ED11-7907-A343-A27574F2F1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70" y="12776907"/>
            <a:ext cx="5486043" cy="215444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A7D75EB-BD23-FF4F-80AE-955DA86030AC}" type="slidenum">
              <a:rPr lang="nb-NO" smtClean="0"/>
              <a:pPr>
                <a:spcAft>
                  <a:spcPts val="600"/>
                </a:spcAft>
              </a:pPr>
              <a:t>3</a:t>
            </a:fld>
            <a:endParaRPr lang="nb-NO"/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8FCDC80E-4A84-D958-6D92-2BB375362C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74120" y="1453024"/>
            <a:ext cx="13739347" cy="9926176"/>
          </a:xfrm>
        </p:spPr>
        <p:txBody>
          <a:bodyPr>
            <a:noAutofit/>
          </a:bodyPr>
          <a:lstStyle/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nb-NO" sz="3200" dirty="0"/>
              <a:t>Velkommen v/ Tove</a:t>
            </a:r>
            <a:endParaRPr lang="en-US" sz="3200" dirty="0"/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nb-NO" sz="3200" dirty="0"/>
              <a:t>Digital markedsføring v/Mali</a:t>
            </a:r>
            <a:endParaRPr lang="en-US" sz="3200" dirty="0"/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nb-NO" sz="3200" dirty="0"/>
              <a:t>Medlemsoppføring og booking på roros.no v/Ranja</a:t>
            </a:r>
            <a:endParaRPr lang="en-US" sz="3200" dirty="0"/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nb-NO" sz="3200" dirty="0"/>
              <a:t>Bilder og sosiale medier, hvordan jobber vi? v/Kari</a:t>
            </a:r>
            <a:endParaRPr lang="en-US" sz="3200" dirty="0"/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/>
              <a:t>Pause med mat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>
                <a:sym typeface="Wingdings" panose="05000000000000000000" pitchFamily="2" charset="2"/>
              </a:rPr>
              <a:t>Reiseliv </a:t>
            </a:r>
            <a:r>
              <a:rPr lang="en-US" sz="3200" dirty="0" err="1">
                <a:sym typeface="Wingdings" panose="05000000000000000000" pitchFamily="2" charset="2"/>
              </a:rPr>
              <a:t>som</a:t>
            </a:r>
            <a:r>
              <a:rPr lang="en-US" sz="3200" dirty="0">
                <a:sym typeface="Wingdings" panose="05000000000000000000" pitchFamily="2" charset="2"/>
              </a:rPr>
              <a:t> </a:t>
            </a:r>
            <a:r>
              <a:rPr lang="en-US" sz="3200" dirty="0" err="1">
                <a:sym typeface="Wingdings" panose="05000000000000000000" pitchFamily="2" charset="2"/>
              </a:rPr>
              <a:t>eksportnæring</a:t>
            </a:r>
            <a:r>
              <a:rPr lang="en-US" sz="3200" dirty="0">
                <a:sym typeface="Wingdings" panose="05000000000000000000" pitchFamily="2" charset="2"/>
              </a:rPr>
              <a:t>, og </a:t>
            </a:r>
            <a:r>
              <a:rPr lang="en-US" sz="3200" dirty="0" err="1">
                <a:sym typeface="Wingdings" panose="05000000000000000000" pitchFamily="2" charset="2"/>
              </a:rPr>
              <a:t>trender</a:t>
            </a:r>
            <a:r>
              <a:rPr lang="en-US" sz="3200" dirty="0">
                <a:sym typeface="Wingdings" panose="05000000000000000000" pitchFamily="2" charset="2"/>
              </a:rPr>
              <a:t> </a:t>
            </a:r>
            <a:r>
              <a:rPr lang="en-US" sz="3200" dirty="0" err="1">
                <a:sym typeface="Wingdings" panose="05000000000000000000" pitchFamily="2" charset="2"/>
              </a:rPr>
              <a:t>i</a:t>
            </a:r>
            <a:r>
              <a:rPr lang="en-US" sz="3200" dirty="0">
                <a:sym typeface="Wingdings" panose="05000000000000000000" pitchFamily="2" charset="2"/>
              </a:rPr>
              <a:t> </a:t>
            </a:r>
            <a:r>
              <a:rPr lang="en-US" sz="3200" dirty="0" err="1">
                <a:sym typeface="Wingdings" panose="05000000000000000000" pitchFamily="2" charset="2"/>
              </a:rPr>
              <a:t>reiselivet</a:t>
            </a:r>
            <a:r>
              <a:rPr lang="en-US" sz="3200" dirty="0">
                <a:sym typeface="Wingdings" panose="05000000000000000000" pitchFamily="2" charset="2"/>
              </a:rPr>
              <a:t> </a:t>
            </a:r>
            <a:r>
              <a:rPr lang="en-US" sz="3200" dirty="0" err="1">
                <a:sym typeface="Wingdings" panose="05000000000000000000" pitchFamily="2" charset="2"/>
              </a:rPr>
              <a:t>fremover</a:t>
            </a:r>
            <a:r>
              <a:rPr lang="en-US" sz="3200" dirty="0">
                <a:sym typeface="Wingdings" panose="05000000000000000000" pitchFamily="2" charset="2"/>
              </a:rPr>
              <a:t> </a:t>
            </a:r>
          </a:p>
          <a:p>
            <a:pPr marL="1485854" lvl="1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>
                <a:sym typeface="Wingdings" panose="05000000000000000000" pitchFamily="2" charset="2"/>
              </a:rPr>
              <a:t>v/Audun Pettersen - </a:t>
            </a:r>
            <a:r>
              <a:rPr lang="en-US" sz="3200" dirty="0" err="1">
                <a:sym typeface="Wingdings" panose="05000000000000000000" pitchFamily="2" charset="2"/>
              </a:rPr>
              <a:t>Bransjedirektør</a:t>
            </a:r>
            <a:r>
              <a:rPr lang="en-US" sz="3200" dirty="0">
                <a:sym typeface="Wingdings" panose="05000000000000000000" pitchFamily="2" charset="2"/>
              </a:rPr>
              <a:t> Reiseliv, </a:t>
            </a:r>
            <a:r>
              <a:rPr lang="en-US" sz="3200" dirty="0" err="1">
                <a:sym typeface="Wingdings" panose="05000000000000000000" pitchFamily="2" charset="2"/>
              </a:rPr>
              <a:t>Virke</a:t>
            </a:r>
            <a:endParaRPr lang="en-US" sz="3200" dirty="0">
              <a:sym typeface="Wingdings" panose="05000000000000000000" pitchFamily="2" charset="2"/>
            </a:endParaRPr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>
                <a:sym typeface="Wingdings" panose="05000000000000000000" pitchFamily="2" charset="2"/>
              </a:rPr>
              <a:t>Sommer 2024 v/Mali</a:t>
            </a:r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/>
              <a:t>Workshop </a:t>
            </a:r>
            <a:r>
              <a:rPr lang="en-US" sz="3200" dirty="0" err="1"/>
              <a:t>inkl</a:t>
            </a:r>
            <a:r>
              <a:rPr lang="en-US" sz="3200" dirty="0"/>
              <a:t>. </a:t>
            </a:r>
            <a:r>
              <a:rPr lang="en-US" sz="3200" dirty="0" err="1"/>
              <a:t>benstrekk</a:t>
            </a:r>
            <a:r>
              <a:rPr lang="en-US" sz="3200" dirty="0"/>
              <a:t> og </a:t>
            </a:r>
            <a:r>
              <a:rPr lang="en-US" sz="3200" dirty="0" err="1"/>
              <a:t>oppsummering</a:t>
            </a:r>
            <a:endParaRPr lang="en-US" sz="3200" dirty="0"/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/>
              <a:t>Kahoot med premier </a:t>
            </a:r>
            <a:r>
              <a:rPr lang="en-US" sz="3200" dirty="0">
                <a:sym typeface="Wingdings" panose="05000000000000000000" pitchFamily="2" charset="2"/>
              </a:rPr>
              <a:t></a:t>
            </a:r>
          </a:p>
          <a:p>
            <a:pPr marL="571500" lvl="0" indent="-571500">
              <a:lnSpc>
                <a:spcPct val="120000"/>
              </a:lnSpc>
              <a:buFont typeface="Wingdings" panose="05000000000000000000" pitchFamily="2" charset="2"/>
              <a:buChar char="q"/>
            </a:pPr>
            <a:r>
              <a:rPr lang="en-US" sz="3200" dirty="0"/>
              <a:t>18:00	</a:t>
            </a:r>
            <a:r>
              <a:rPr lang="en-US" sz="3200" dirty="0" err="1"/>
              <a:t>Takk</a:t>
            </a:r>
            <a:r>
              <a:rPr lang="en-US" sz="3200" dirty="0"/>
              <a:t> for </a:t>
            </a:r>
            <a:r>
              <a:rPr lang="en-US" sz="3200" dirty="0" err="1"/>
              <a:t>i</a:t>
            </a:r>
            <a:r>
              <a:rPr lang="en-US" sz="3200" dirty="0"/>
              <a:t> </a:t>
            </a:r>
            <a:r>
              <a:rPr lang="en-US" sz="3200" dirty="0" err="1"/>
              <a:t>dag</a:t>
            </a:r>
            <a:r>
              <a:rPr lang="en-US" sz="3200" dirty="0"/>
              <a:t>!!</a:t>
            </a:r>
          </a:p>
        </p:txBody>
      </p:sp>
      <p:pic>
        <p:nvPicPr>
          <p:cNvPr id="4" name="Bilde 3" descr="Et bilde som inneholder utendørs, snø, himmel, tekst&#10;&#10;Automatisk generert beskrivelse">
            <a:extLst>
              <a:ext uri="{FF2B5EF4-FFF2-40B4-BE49-F238E27FC236}">
                <a16:creationId xmlns:a16="http://schemas.microsoft.com/office/drawing/2014/main" id="{5FCE6E58-F1AE-159D-56B1-B27919DEFC4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57413" y="1016000"/>
            <a:ext cx="9525000" cy="127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31083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>
            <a:extLst>
              <a:ext uri="{FF2B5EF4-FFF2-40B4-BE49-F238E27FC236}">
                <a16:creationId xmlns:a16="http://schemas.microsoft.com/office/drawing/2014/main" id="{614E2786-00C0-5566-563B-5D64DE67CD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7D75EB-BD23-FF4F-80AE-955DA86030AC}" type="slidenum">
              <a:rPr lang="nb-NO" smtClean="0"/>
              <a:t>4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585BD1CF-22AF-3A46-8562-98887B68A3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0991" y="1600046"/>
            <a:ext cx="7087997" cy="1846659"/>
          </a:xfrm>
        </p:spPr>
        <p:txBody>
          <a:bodyPr/>
          <a:lstStyle/>
          <a:p>
            <a:r>
              <a:rPr lang="nb-NO" dirty="0"/>
              <a:t>Hva rører seg i Visit Røros og Østerdalen?</a:t>
            </a:r>
          </a:p>
        </p:txBody>
      </p:sp>
      <p:graphicFrame>
        <p:nvGraphicFramePr>
          <p:cNvPr id="6" name="Plassholder for innhold 5">
            <a:extLst>
              <a:ext uri="{FF2B5EF4-FFF2-40B4-BE49-F238E27FC236}">
                <a16:creationId xmlns:a16="http://schemas.microsoft.com/office/drawing/2014/main" id="{D579034E-73DC-52B5-F10F-C952552A2D01}"/>
              </a:ext>
            </a:extLst>
          </p:cNvPr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271909452"/>
              </p:ext>
            </p:extLst>
          </p:nvPr>
        </p:nvGraphicFramePr>
        <p:xfrm>
          <a:off x="8747124" y="3331491"/>
          <a:ext cx="14824076" cy="944541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412038">
                  <a:extLst>
                    <a:ext uri="{9D8B030D-6E8A-4147-A177-3AD203B41FA5}">
                      <a16:colId xmlns:a16="http://schemas.microsoft.com/office/drawing/2014/main" val="100385581"/>
                    </a:ext>
                  </a:extLst>
                </a:gridCol>
                <a:gridCol w="7412038">
                  <a:extLst>
                    <a:ext uri="{9D8B030D-6E8A-4147-A177-3AD203B41FA5}">
                      <a16:colId xmlns:a16="http://schemas.microsoft.com/office/drawing/2014/main" val="2286349673"/>
                    </a:ext>
                  </a:extLst>
                </a:gridCol>
              </a:tblGrid>
              <a:tr h="2020712">
                <a:tc>
                  <a:txBody>
                    <a:bodyPr/>
                    <a:lstStyle/>
                    <a:p>
                      <a:r>
                        <a:rPr lang="nb-NO" dirty="0"/>
                        <a:t>Tove R. Martens</a:t>
                      </a:r>
                    </a:p>
                    <a:p>
                      <a:r>
                        <a:rPr lang="nb-NO" i="1" dirty="0"/>
                        <a:t>Reiselivssjef og daglig leder</a:t>
                      </a:r>
                    </a:p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Mali Finborud Nøren</a:t>
                      </a:r>
                    </a:p>
                    <a:p>
                      <a:r>
                        <a:rPr lang="nb-NO" i="1" dirty="0"/>
                        <a:t>Markedsansvarlig og Innholdsprodus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47585558"/>
                  </a:ext>
                </a:extLst>
              </a:tr>
              <a:tr h="2020712">
                <a:tc>
                  <a:txBody>
                    <a:bodyPr/>
                    <a:lstStyle/>
                    <a:p>
                      <a:r>
                        <a:rPr lang="nb-NO" dirty="0"/>
                        <a:t>Utadrettet salg nasjonalt og internasjonalt, messer og workshops,</a:t>
                      </a:r>
                    </a:p>
                    <a:p>
                      <a:r>
                        <a:rPr lang="nb-NO" dirty="0"/>
                        <a:t>Dialog med kommuner og samarbeidspartnere, rekruttering av nye partnere</a:t>
                      </a:r>
                    </a:p>
                    <a:p>
                      <a:endParaRPr lang="nb-N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Jobber med tekst, innhold og web. Mali skriver nyhetsbrev, artikler og gjør intervjuer av aktuelle personer til web og markedsføring bl.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0510510"/>
                  </a:ext>
                </a:extLst>
              </a:tr>
              <a:tr h="2020712">
                <a:tc>
                  <a:txBody>
                    <a:bodyPr/>
                    <a:lstStyle/>
                    <a:p>
                      <a:pPr marL="0" algn="l" defTabSz="1828709" rtl="0" eaLnBrk="1" latinLnBrk="0" hangingPunct="1"/>
                      <a:r>
                        <a:rPr lang="nb-NO" sz="3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anja Thørn</a:t>
                      </a:r>
                    </a:p>
                    <a:p>
                      <a:pPr marL="0" algn="l" defTabSz="1828709" rtl="0" eaLnBrk="1" latinLnBrk="0" hangingPunct="1"/>
                      <a:r>
                        <a:rPr lang="nb-NO" sz="3600" b="1" i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iselivsmedarbeider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1828709" rtl="0" eaLnBrk="1" latinLnBrk="0" hangingPunct="1"/>
                      <a:r>
                        <a:rPr lang="nb-NO" sz="36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Kari Sivertsen Haugen</a:t>
                      </a:r>
                    </a:p>
                    <a:p>
                      <a:pPr marL="0" algn="l" defTabSz="1828709" rtl="0" eaLnBrk="1" latinLnBrk="0" hangingPunct="1"/>
                      <a:r>
                        <a:rPr lang="nb-NO" sz="3600" b="1" i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arked</a:t>
                      </a:r>
                    </a:p>
                  </a:txBody>
                  <a:tcP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9983774"/>
                  </a:ext>
                </a:extLst>
              </a:tr>
              <a:tr h="2020712">
                <a:tc>
                  <a:txBody>
                    <a:bodyPr/>
                    <a:lstStyle/>
                    <a:p>
                      <a:r>
                        <a:rPr lang="nb-NO" dirty="0"/>
                        <a:t>Medlemsoppføringer, booking og turistkontor (Røro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nb-NO" dirty="0"/>
                        <a:t>Foto (ta, bearbeide og forvalte bildebank), Sosiale medi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01267176"/>
                  </a:ext>
                </a:extLst>
              </a:tr>
            </a:tbl>
          </a:graphicData>
        </a:graphic>
      </p:graphicFrame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BFB6CB5-B82F-2494-0229-7CE0917F215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marL="742950" indent="-742950">
              <a:buFont typeface="+mj-lt"/>
              <a:buAutoNum type="arabicPeriod"/>
            </a:pPr>
            <a:r>
              <a:rPr lang="nb-NO" dirty="0"/>
              <a:t>Teamet</a:t>
            </a:r>
          </a:p>
          <a:p>
            <a:pPr marL="742950" indent="-742950">
              <a:buFont typeface="+mj-lt"/>
              <a:buAutoNum type="arabicPeriod"/>
            </a:pPr>
            <a:r>
              <a:rPr lang="nb-NO" dirty="0"/>
              <a:t>Hvilke partnere består Røros og Østerdalen av i dag?</a:t>
            </a:r>
          </a:p>
          <a:p>
            <a:pPr marL="742950" indent="-742950">
              <a:buFont typeface="+mj-lt"/>
              <a:buAutoNum type="arabicPeriod"/>
            </a:pPr>
            <a:r>
              <a:rPr lang="nb-NO" dirty="0"/>
              <a:t>NTW og post-tur, hva betyr dette for oss?</a:t>
            </a:r>
          </a:p>
          <a:p>
            <a:pPr marL="742950" indent="-742950">
              <a:buFont typeface="+mj-lt"/>
              <a:buAutoNum type="arabicPeriod"/>
            </a:pPr>
            <a:r>
              <a:rPr lang="nb-NO" dirty="0"/>
              <a:t>Markeder og planer fremover</a:t>
            </a:r>
          </a:p>
        </p:txBody>
      </p:sp>
      <p:sp>
        <p:nvSpPr>
          <p:cNvPr id="7" name="Tittel 2">
            <a:extLst>
              <a:ext uri="{FF2B5EF4-FFF2-40B4-BE49-F238E27FC236}">
                <a16:creationId xmlns:a16="http://schemas.microsoft.com/office/drawing/2014/main" id="{F48514B2-5EC0-B690-A8AF-1278232732EA}"/>
              </a:ext>
            </a:extLst>
          </p:cNvPr>
          <p:cNvSpPr txBox="1">
            <a:spLocks/>
          </p:cNvSpPr>
          <p:nvPr/>
        </p:nvSpPr>
        <p:spPr>
          <a:xfrm>
            <a:off x="8747124" y="723649"/>
            <a:ext cx="11214691" cy="923330"/>
          </a:xfrm>
          <a:prstGeom prst="rect">
            <a:avLst/>
          </a:prstGeom>
        </p:spPr>
        <p:txBody>
          <a:bodyPr vert="horz" wrap="square" lIns="0" tIns="0" rIns="0" bIns="0" rtlCol="0" anchor="t">
            <a:normAutofit/>
          </a:bodyPr>
          <a:lstStyle>
            <a:lvl1pPr algn="l" defTabSz="1828709" rtl="0" eaLnBrk="1" latinLnBrk="0" hangingPunct="1">
              <a:lnSpc>
                <a:spcPts val="7200"/>
              </a:lnSpc>
              <a:spcBef>
                <a:spcPct val="0"/>
              </a:spcBef>
              <a:buNone/>
              <a:defRPr sz="6000" b="1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nb-NO" i="1" dirty="0">
                <a:solidFill>
                  <a:schemeClr val="accent1"/>
                </a:solidFill>
              </a:rPr>
              <a:t>1. Teamet</a:t>
            </a:r>
          </a:p>
        </p:txBody>
      </p:sp>
    </p:spTree>
    <p:extLst>
      <p:ext uri="{BB962C8B-B14F-4D97-AF65-F5344CB8AC3E}">
        <p14:creationId xmlns:p14="http://schemas.microsoft.com/office/powerpoint/2010/main" val="326935965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2">
            <a:extLst>
              <a:ext uri="{FF2B5EF4-FFF2-40B4-BE49-F238E27FC236}">
                <a16:creationId xmlns:a16="http://schemas.microsoft.com/office/drawing/2014/main" id="{965F771D-37B8-D225-D22A-7263779078C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5470" y="3776688"/>
            <a:ext cx="9200207" cy="4559285"/>
          </a:xfrm>
        </p:spPr>
        <p:txBody>
          <a:bodyPr wrap="square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en-US" sz="9600" dirty="0" err="1"/>
              <a:t>Fordeling</a:t>
            </a:r>
            <a:r>
              <a:rPr lang="en-US" sz="9600" dirty="0"/>
              <a:t> </a:t>
            </a:r>
            <a:r>
              <a:rPr lang="en-US" sz="9600" dirty="0" err="1"/>
              <a:t>partnere</a:t>
            </a:r>
            <a:r>
              <a:rPr lang="en-US" sz="9600" dirty="0"/>
              <a:t> pr </a:t>
            </a:r>
            <a:r>
              <a:rPr lang="en-US" sz="9600" dirty="0" err="1"/>
              <a:t>kommune</a:t>
            </a:r>
            <a:endParaRPr lang="en-US" sz="9600" dirty="0"/>
          </a:p>
        </p:txBody>
      </p:sp>
      <p:sp>
        <p:nvSpPr>
          <p:cNvPr id="28" name="Text Placeholder 5">
            <a:extLst>
              <a:ext uri="{FF2B5EF4-FFF2-40B4-BE49-F238E27FC236}">
                <a16:creationId xmlns:a16="http://schemas.microsoft.com/office/drawing/2014/main" id="{4DFBD080-B91B-0B6C-A436-9B74EDCB9A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75470" y="1486839"/>
            <a:ext cx="6305862" cy="1354217"/>
          </a:xfrm>
        </p:spPr>
        <p:txBody>
          <a:bodyPr/>
          <a:lstStyle/>
          <a:p>
            <a:r>
              <a:rPr lang="en-US" sz="4400" i="1" dirty="0"/>
              <a:t>2. </a:t>
            </a:r>
            <a:r>
              <a:rPr lang="en-US" sz="4400" i="1" dirty="0" err="1"/>
              <a:t>Hvem</a:t>
            </a:r>
            <a:r>
              <a:rPr lang="en-US" sz="4400" i="1" dirty="0"/>
              <a:t> </a:t>
            </a:r>
            <a:r>
              <a:rPr lang="en-US" sz="4400" i="1" dirty="0" err="1"/>
              <a:t>består</a:t>
            </a:r>
            <a:r>
              <a:rPr lang="en-US" sz="4400" i="1" dirty="0"/>
              <a:t> Røros og Østerdalen av I </a:t>
            </a:r>
            <a:r>
              <a:rPr lang="en-US" sz="4400" i="1" dirty="0" err="1"/>
              <a:t>dag</a:t>
            </a:r>
            <a:r>
              <a:rPr lang="en-US" sz="4400" i="1" dirty="0"/>
              <a:t>?</a:t>
            </a:r>
          </a:p>
        </p:txBody>
      </p:sp>
      <p:sp>
        <p:nvSpPr>
          <p:cNvPr id="4" name="Plassholder for lysbildenummer 3" hidden="1">
            <a:extLst>
              <a:ext uri="{FF2B5EF4-FFF2-40B4-BE49-F238E27FC236}">
                <a16:creationId xmlns:a16="http://schemas.microsoft.com/office/drawing/2014/main" id="{F1CCD809-9423-A275-D74B-AC8080FB09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08838"/>
            <a:ext cx="28802" cy="15389"/>
          </a:xfrm>
        </p:spPr>
        <p:txBody>
          <a:bodyPr/>
          <a:lstStyle/>
          <a:p>
            <a:pPr>
              <a:spcAft>
                <a:spcPts val="1200"/>
              </a:spcAft>
            </a:pPr>
            <a:fld id="{4EADB2E4-2809-4C85-B511-BAACE80F7AD9}" type="slidenum">
              <a:rPr lang="sv-SE" smtClean="0"/>
              <a:pPr>
                <a:spcAft>
                  <a:spcPts val="1200"/>
                </a:spcAft>
              </a:pPr>
              <a:t>5</a:t>
            </a:fld>
            <a:endParaRPr lang="sv-SE"/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9ABF7D37-DF3A-E587-FE94-8BDE1EBCEB5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12120" y="865499"/>
            <a:ext cx="17084718" cy="11118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272412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id="{754FEA51-92A5-D19F-724D-2898680A0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69" y="12776516"/>
            <a:ext cx="5486043" cy="215444"/>
          </a:xfrm>
        </p:spPr>
        <p:txBody>
          <a:bodyPr/>
          <a:lstStyle/>
          <a:p>
            <a:pPr>
              <a:spcAft>
                <a:spcPts val="1200"/>
              </a:spcAft>
            </a:pPr>
            <a:fld id="{2A7D75EB-BD23-FF4F-80AE-955DA86030AC}" type="slidenum">
              <a:rPr lang="nb-NO" smtClean="0"/>
              <a:pPr>
                <a:spcAft>
                  <a:spcPts val="1200"/>
                </a:spcAft>
              </a:pPr>
              <a:t>6</a:t>
            </a:fld>
            <a:endParaRPr lang="nb-NO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DBE00BEC-BE71-2179-F2E7-D47BF096DC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681" y="3412248"/>
            <a:ext cx="7087997" cy="1846540"/>
          </a:xfrm>
        </p:spPr>
        <p:txBody>
          <a:bodyPr wrap="square" anchor="t">
            <a:normAutofit/>
          </a:bodyPr>
          <a:lstStyle/>
          <a:p>
            <a:r>
              <a:rPr lang="nb-NO" sz="3600" dirty="0"/>
              <a:t>Fordeling partnere fordelt på bransj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33832CD4-B4FC-7E73-8AD1-14C462B6B8E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0988" y="4916100"/>
            <a:ext cx="7088690" cy="7716218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US" dirty="0" err="1"/>
              <a:t>Overnatting</a:t>
            </a:r>
            <a:r>
              <a:rPr lang="en-US" dirty="0"/>
              <a:t> </a:t>
            </a:r>
            <a:r>
              <a:rPr lang="en-US" dirty="0" err="1"/>
              <a:t>størst</a:t>
            </a:r>
            <a:endParaRPr lang="en-US" dirty="0"/>
          </a:p>
          <a:p>
            <a:pPr>
              <a:lnSpc>
                <a:spcPct val="100000"/>
              </a:lnSpc>
            </a:pPr>
            <a:r>
              <a:rPr lang="en-US" dirty="0" err="1"/>
              <a:t>Aktiviteter</a:t>
            </a:r>
            <a:r>
              <a:rPr lang="en-US" dirty="0"/>
              <a:t>/arrangement og </a:t>
            </a:r>
            <a:r>
              <a:rPr lang="en-US" dirty="0" err="1"/>
              <a:t>indirekte</a:t>
            </a:r>
            <a:r>
              <a:rPr lang="en-US" dirty="0"/>
              <a:t> </a:t>
            </a:r>
            <a:r>
              <a:rPr lang="en-US" dirty="0" err="1"/>
              <a:t>næring</a:t>
            </a:r>
            <a:r>
              <a:rPr lang="en-US" dirty="0"/>
              <a:t> nest </a:t>
            </a:r>
            <a:r>
              <a:rPr lang="en-US" dirty="0" err="1"/>
              <a:t>størrst</a:t>
            </a:r>
            <a:endParaRPr lang="en-US" dirty="0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C7829651-40A5-F9C8-0106-30161C0428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fld id="{4EADB2E4-2809-4C85-B511-BAACE80F7AD9}" type="slidenum">
              <a:rPr lang="sv-SE" smtClean="0"/>
              <a:pPr>
                <a:spcAft>
                  <a:spcPts val="1200"/>
                </a:spcAft>
              </a:pPr>
              <a:t>6</a:t>
            </a:fld>
            <a:endParaRPr lang="sv-SE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0A81EA89-003B-4AA1-C61D-14F1EF8061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944954" y="939479"/>
            <a:ext cx="16437458" cy="10547369"/>
          </a:xfrm>
          <a:prstGeom prst="rect">
            <a:avLst/>
          </a:prstGeom>
        </p:spPr>
      </p:pic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326674F4-7EE7-F507-3033-F44017AF8E62}"/>
              </a:ext>
            </a:extLst>
          </p:cNvPr>
          <p:cNvSpPr txBox="1">
            <a:spLocks/>
          </p:cNvSpPr>
          <p:nvPr/>
        </p:nvSpPr>
        <p:spPr>
          <a:xfrm>
            <a:off x="975470" y="1486839"/>
            <a:ext cx="6305862" cy="135421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1828709" rtl="0" eaLnBrk="1" latinLnBrk="0" hangingPunct="1">
              <a:lnSpc>
                <a:spcPts val="4800"/>
              </a:lnSpc>
              <a:spcBef>
                <a:spcPts val="3000"/>
              </a:spcBef>
              <a:buFont typeface="EB Garamond" panose="00000500000000000000" pitchFamily="2" charset="0"/>
              <a:buNone/>
              <a:defRPr sz="4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914308" indent="0" algn="l" defTabSz="1828709" rtl="0" eaLnBrk="1" latinLnBrk="0" hangingPunct="1">
              <a:lnSpc>
                <a:spcPts val="4800"/>
              </a:lnSpc>
              <a:spcBef>
                <a:spcPts val="0"/>
              </a:spcBef>
              <a:buFont typeface="Arial" panose="020B0604020202020204" pitchFamily="34" charset="0"/>
              <a:buNone/>
              <a:defRPr sz="4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ts val="4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ts val="4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ts val="48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4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400" i="1"/>
              <a:t>2. Hvem består Røros og Østerdalen av I dag?</a:t>
            </a:r>
            <a:endParaRPr lang="en-US" sz="4400" i="1" dirty="0"/>
          </a:p>
        </p:txBody>
      </p:sp>
    </p:spTree>
    <p:extLst>
      <p:ext uri="{BB962C8B-B14F-4D97-AF65-F5344CB8AC3E}">
        <p14:creationId xmlns:p14="http://schemas.microsoft.com/office/powerpoint/2010/main" val="2979113690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lassholder for bilde 8" descr="Et bilde som inneholder grønn, plante, gress&#10;&#10;Automatisk generert beskrivelse">
            <a:extLst>
              <a:ext uri="{FF2B5EF4-FFF2-40B4-BE49-F238E27FC236}">
                <a16:creationId xmlns:a16="http://schemas.microsoft.com/office/drawing/2014/main" id="{95C8D25B-A265-396C-87A4-8AAA8EF9AA7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98" b="12498"/>
          <a:stretch/>
        </p:blipFill>
        <p:spPr>
          <a:xfrm>
            <a:off x="20" y="10"/>
            <a:ext cx="24382393" cy="13715990"/>
          </a:xfrm>
          <a:noFill/>
        </p:spPr>
      </p:pic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E8ADDD8-88E3-60FB-35C0-7BF7188A7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7880370" y="12776907"/>
            <a:ext cx="5486043" cy="215444"/>
          </a:xfrm>
        </p:spPr>
        <p:txBody>
          <a:bodyPr anchor="ctr">
            <a:normAutofit/>
          </a:bodyPr>
          <a:lstStyle/>
          <a:p>
            <a:pPr marL="0" marR="0" lvl="0" indent="0" algn="r" defTabSz="182870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fld id="{4EADB2E4-2809-4C85-B511-BAACE80F7AD9}" type="slidenum">
              <a:rPr kumimoji="0" lang="sv-SE" sz="14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Beausite Classic Clear"/>
                <a:ea typeface="+mn-ea"/>
                <a:cs typeface="+mn-cs"/>
              </a:rPr>
              <a:pPr marL="0" marR="0" lvl="0" indent="0" algn="r" defTabSz="182870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sv-SE" sz="1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Beausite Classic Clear"/>
              <a:ea typeface="+mn-ea"/>
              <a:cs typeface="+mn-cs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953A0824-44A0-29A0-0EF7-0172E8360B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3823151"/>
            <a:ext cx="17310942" cy="2000548"/>
          </a:xfrm>
        </p:spPr>
        <p:txBody>
          <a:bodyPr wrap="square" anchor="t">
            <a:normAutofit fontScale="90000"/>
          </a:bodyPr>
          <a:lstStyle/>
          <a:p>
            <a:r>
              <a:rPr lang="sv-SE" dirty="0"/>
              <a:t>Markeder</a:t>
            </a:r>
            <a:br>
              <a:rPr lang="sv-SE" dirty="0"/>
            </a:br>
            <a:br>
              <a:rPr lang="sv-SE" dirty="0"/>
            </a:br>
            <a:r>
              <a:rPr lang="sv-SE" sz="7300" dirty="0"/>
              <a:t>Hvilke markeder markedsfører vi oss mot og selger   til?</a:t>
            </a:r>
            <a:endParaRPr lang="sv-SE" dirty="0"/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3AE9EEB-FD66-C241-B5A6-E6F9A8BEF0A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75470" y="11938660"/>
            <a:ext cx="3423600" cy="101817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1812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0E08292-2B82-9A96-8730-D5B4530B20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DB2E4-2809-4C85-B511-BAACE80F7AD9}" type="slidenum">
              <a:rPr lang="sv-SE" smtClean="0"/>
              <a:pPr/>
              <a:t>8</a:t>
            </a:fld>
            <a:endParaRPr lang="sv-SE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9DD5A93D-115B-5E1B-6FB3-117C6143D7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2082801"/>
            <a:ext cx="10530729" cy="2000548"/>
          </a:xfrm>
        </p:spPr>
        <p:txBody>
          <a:bodyPr/>
          <a:lstStyle/>
          <a:p>
            <a:r>
              <a:rPr lang="sv-SE" dirty="0" err="1"/>
              <a:t>Nasjonalt</a:t>
            </a:r>
            <a:endParaRPr lang="sv-SE" dirty="0"/>
          </a:p>
        </p:txBody>
      </p:sp>
      <p:sp>
        <p:nvSpPr>
          <p:cNvPr id="5" name="TekstSylinder 4">
            <a:extLst>
              <a:ext uri="{FF2B5EF4-FFF2-40B4-BE49-F238E27FC236}">
                <a16:creationId xmlns:a16="http://schemas.microsoft.com/office/drawing/2014/main" id="{CFDE45CD-6F5A-3851-A9F7-F1F94893A53C}"/>
              </a:ext>
            </a:extLst>
          </p:cNvPr>
          <p:cNvSpPr txBox="1"/>
          <p:nvPr/>
        </p:nvSpPr>
        <p:spPr>
          <a:xfrm>
            <a:off x="7569201" y="3251200"/>
            <a:ext cx="1016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b-NO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71178171-2DDB-4179-965D-03CEADFFCCB8}"/>
              </a:ext>
            </a:extLst>
          </p:cNvPr>
          <p:cNvSpPr txBox="1"/>
          <p:nvPr/>
        </p:nvSpPr>
        <p:spPr>
          <a:xfrm>
            <a:off x="975472" y="4368800"/>
            <a:ext cx="9717928" cy="78483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Østlandet (Viken, Oslo og Akershus)</a:t>
            </a:r>
          </a:p>
          <a:p>
            <a:endParaRPr lang="nb-NO" dirty="0"/>
          </a:p>
          <a:p>
            <a:r>
              <a:rPr lang="nb-NO" dirty="0"/>
              <a:t>Trøndelag</a:t>
            </a:r>
          </a:p>
          <a:p>
            <a:endParaRPr lang="nb-NO" dirty="0"/>
          </a:p>
          <a:p>
            <a:r>
              <a:rPr lang="nb-NO" dirty="0"/>
              <a:t>Innlandet (Lillehammer)</a:t>
            </a:r>
          </a:p>
          <a:p>
            <a:endParaRPr lang="nb-NO" dirty="0"/>
          </a:p>
          <a:p>
            <a:r>
              <a:rPr lang="nb-NO" dirty="0"/>
              <a:t>Vestlandet (Bergen og Stavanger)</a:t>
            </a:r>
          </a:p>
          <a:p>
            <a:endParaRPr lang="nb-NO" dirty="0"/>
          </a:p>
          <a:p>
            <a:r>
              <a:rPr lang="nb-NO" dirty="0"/>
              <a:t>Møre og Romsdal (Molde, Ålesund og Kristiansund) – et marked vi må «utvikle» </a:t>
            </a:r>
          </a:p>
          <a:p>
            <a:endParaRPr lang="nb-NO" dirty="0"/>
          </a:p>
          <a:p>
            <a:endParaRPr lang="nb-NO" dirty="0"/>
          </a:p>
          <a:p>
            <a:endParaRPr lang="nb-NO" dirty="0">
              <a:latin typeface="+mj-lt"/>
            </a:endParaRP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8647084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1E28BD3-1CCD-7A82-05E1-F545C8597E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EADB2E4-2809-4C85-B511-BAACE80F7AD9}" type="slidenum">
              <a:rPr lang="sv-SE" smtClean="0"/>
              <a:pPr/>
              <a:t>9</a:t>
            </a:fld>
            <a:endParaRPr lang="sv-SE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27DB2C-72F7-E8CD-EC74-3A9B6DAACE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5471" y="2489201"/>
            <a:ext cx="17310942" cy="1955799"/>
          </a:xfrm>
        </p:spPr>
        <p:txBody>
          <a:bodyPr/>
          <a:lstStyle/>
          <a:p>
            <a:r>
              <a:rPr lang="sv-SE" dirty="0" err="1"/>
              <a:t>Internasjonalt</a:t>
            </a:r>
            <a:endParaRPr lang="sv-SE" dirty="0"/>
          </a:p>
        </p:txBody>
      </p:sp>
      <p:sp>
        <p:nvSpPr>
          <p:cNvPr id="4" name="TekstSylinder 3">
            <a:extLst>
              <a:ext uri="{FF2B5EF4-FFF2-40B4-BE49-F238E27FC236}">
                <a16:creationId xmlns:a16="http://schemas.microsoft.com/office/drawing/2014/main" id="{EFB7F32E-A8F4-AF0C-5584-6B9E1B4616D1}"/>
              </a:ext>
            </a:extLst>
          </p:cNvPr>
          <p:cNvSpPr txBox="1"/>
          <p:nvPr/>
        </p:nvSpPr>
        <p:spPr>
          <a:xfrm>
            <a:off x="975471" y="4673600"/>
            <a:ext cx="9184529" cy="61863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dirty="0"/>
              <a:t>Sverige (Stockholm*)</a:t>
            </a:r>
          </a:p>
          <a:p>
            <a:endParaRPr lang="nb-NO" dirty="0"/>
          </a:p>
          <a:p>
            <a:r>
              <a:rPr lang="nb-NO" dirty="0"/>
              <a:t>Storbritannia</a:t>
            </a:r>
          </a:p>
          <a:p>
            <a:endParaRPr lang="nb-NO" dirty="0"/>
          </a:p>
          <a:p>
            <a:r>
              <a:rPr lang="nb-NO" dirty="0"/>
              <a:t>Tyskland</a:t>
            </a:r>
          </a:p>
          <a:p>
            <a:endParaRPr lang="nb-NO" dirty="0"/>
          </a:p>
          <a:p>
            <a:r>
              <a:rPr lang="nb-NO" dirty="0"/>
              <a:t>Nederland</a:t>
            </a:r>
          </a:p>
          <a:p>
            <a:endParaRPr lang="nb-NO" dirty="0"/>
          </a:p>
          <a:p>
            <a:r>
              <a:rPr lang="nb-NO" dirty="0"/>
              <a:t>Danmark</a:t>
            </a:r>
          </a:p>
          <a:p>
            <a:endParaRPr lang="nb-NO" dirty="0"/>
          </a:p>
          <a:p>
            <a:r>
              <a:rPr lang="nb-NO" dirty="0"/>
              <a:t>USA</a:t>
            </a:r>
          </a:p>
        </p:txBody>
      </p:sp>
    </p:spTree>
    <p:extLst>
      <p:ext uri="{BB962C8B-B14F-4D97-AF65-F5344CB8AC3E}">
        <p14:creationId xmlns:p14="http://schemas.microsoft.com/office/powerpoint/2010/main" val="7912491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rgbClr val="262423"/>
      </a:dk1>
      <a:lt1>
        <a:srgbClr val="FFFFFF"/>
      </a:lt1>
      <a:dk2>
        <a:srgbClr val="8A2C18"/>
      </a:dk2>
      <a:lt2>
        <a:srgbClr val="B85429"/>
      </a:lt2>
      <a:accent1>
        <a:srgbClr val="7B8040"/>
      </a:accent1>
      <a:accent2>
        <a:srgbClr val="4A4C20"/>
      </a:accent2>
      <a:accent3>
        <a:srgbClr val="AABFC9"/>
      </a:accent3>
      <a:accent4>
        <a:srgbClr val="688996"/>
      </a:accent4>
      <a:accent5>
        <a:srgbClr val="E3BA8F"/>
      </a:accent5>
      <a:accent6>
        <a:srgbClr val="A86C36"/>
      </a:accent6>
      <a:hlink>
        <a:srgbClr val="0563C1"/>
      </a:hlink>
      <a:folHlink>
        <a:srgbClr val="954F72"/>
      </a:folHlink>
    </a:clrScheme>
    <a:fontScheme name="Egendefinert 90">
      <a:majorFont>
        <a:latin typeface="PP Editorial Old Ultralight"/>
        <a:ea typeface=""/>
        <a:cs typeface=""/>
      </a:majorFont>
      <a:minorFont>
        <a:latin typeface="Beausite Classic Cle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ustom Color 1">
      <a:srgbClr val="8A2C18"/>
    </a:custClr>
    <a:custClr name="Custom Color 2">
      <a:srgbClr val="CF8333"/>
    </a:custClr>
    <a:custClr name="Custom Color 3">
      <a:srgbClr val="B05B27"/>
    </a:custClr>
  </a:custClrLst>
  <a:extLst>
    <a:ext uri="{05A4C25C-085E-4340-85A3-A5531E510DB2}">
      <thm15:themeFamily xmlns:thm15="http://schemas.microsoft.com/office/thememl/2012/main" name="VRO_PPT.potx" id="{F9CEBBB7-A640-4C5B-9592-49978AAC7C47}" vid="{579D7C7E-3010-404C-92C7-F8B0B75175AB}"/>
    </a:ext>
  </a:extLst>
</a:theme>
</file>

<file path=ppt/theme/theme2.xml><?xml version="1.0" encoding="utf-8"?>
<a:theme xmlns:a="http://schemas.openxmlformats.org/drawingml/2006/main" name="1_Avinor-Format-16-9">
  <a:themeElements>
    <a:clrScheme name="AVINOR">
      <a:dk1>
        <a:srgbClr val="1D1D1D"/>
      </a:dk1>
      <a:lt1>
        <a:sysClr val="window" lastClr="FFFFFF"/>
      </a:lt1>
      <a:dk2>
        <a:srgbClr val="84236B"/>
      </a:dk2>
      <a:lt2>
        <a:srgbClr val="6BDBD0"/>
      </a:lt2>
      <a:accent1>
        <a:srgbClr val="471C59"/>
      </a:accent1>
      <a:accent2>
        <a:srgbClr val="FBB034"/>
      </a:accent2>
      <a:accent3>
        <a:srgbClr val="FE3B00"/>
      </a:accent3>
      <a:accent4>
        <a:srgbClr val="3F3F3F"/>
      </a:accent4>
      <a:accent5>
        <a:srgbClr val="A5A5A5"/>
      </a:accent5>
      <a:accent6>
        <a:srgbClr val="D8D8D8"/>
      </a:accent6>
      <a:hlink>
        <a:srgbClr val="84236B"/>
      </a:hlink>
      <a:folHlink>
        <a:srgbClr val="471C59"/>
      </a:folHlink>
    </a:clrScheme>
    <a:fontScheme name="AVINO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Modul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47500"/>
                <a:satMod val="137000"/>
              </a:schemeClr>
            </a:gs>
            <a:gs pos="55000">
              <a:schemeClr val="phClr">
                <a:shade val="69000"/>
                <a:satMod val="137000"/>
              </a:schemeClr>
            </a:gs>
            <a:gs pos="100000">
              <a:schemeClr val="phClr">
                <a:shade val="98000"/>
                <a:satMod val="137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48000" cap="flat" cmpd="thickThin" algn="ctr">
          <a:solidFill>
            <a:schemeClr val="phClr"/>
          </a:solidFill>
          <a:prstDash val="solid"/>
        </a:ln>
        <a:ln w="48500" cap="flat" cmpd="thickThin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5000" dist="25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39000" dist="25400" dir="5400000" rotWithShape="0">
              <a:srgbClr val="000000">
                <a:alpha val="38000"/>
              </a:srgbClr>
            </a:outerShdw>
          </a:effectLst>
          <a:scene3d>
            <a:camera prst="orthographicFront" fov="0">
              <a:rot lat="0" lon="0" rev="0"/>
            </a:camera>
            <a:lightRig rig="threePt" dir="t">
              <a:rot lat="0" lon="0" rev="1800000"/>
            </a:lightRig>
          </a:scene3d>
          <a:sp3d prstMaterial="matte">
            <a:bevelT h="200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6" id="{5C57A2D8-BC3D-4B5A-80B0-8FD2A9916E94}" vid="{7D9A6D23-5097-49FE-B66E-457B498F0FF7}"/>
    </a:ext>
  </a:extLst>
</a:theme>
</file>

<file path=ppt/theme/theme3.xml><?xml version="1.0" encoding="utf-8"?>
<a:theme xmlns:a="http://schemas.openxmlformats.org/drawingml/2006/main" name="1 Chapters">
  <a:themeElements>
    <a:clrScheme name="Avinor">
      <a:dk1>
        <a:srgbClr val="1D1D1D"/>
      </a:dk1>
      <a:lt1>
        <a:srgbClr val="FFFFFF"/>
      </a:lt1>
      <a:dk2>
        <a:srgbClr val="84236B"/>
      </a:dk2>
      <a:lt2>
        <a:srgbClr val="42B8B2"/>
      </a:lt2>
      <a:accent1>
        <a:srgbClr val="471C59"/>
      </a:accent1>
      <a:accent2>
        <a:srgbClr val="FBB034"/>
      </a:accent2>
      <a:accent3>
        <a:srgbClr val="FE3B00"/>
      </a:accent3>
      <a:accent4>
        <a:srgbClr val="3F3F3F"/>
      </a:accent4>
      <a:accent5>
        <a:srgbClr val="A5A5A5"/>
      </a:accent5>
      <a:accent6>
        <a:srgbClr val="D8D8D8"/>
      </a:accent6>
      <a:hlink>
        <a:srgbClr val="84236B"/>
      </a:hlink>
      <a:folHlink>
        <a:srgbClr val="471C5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sjon1" id="{CBBBD280-5448-1B47-8CCB-55A1DC451051}" vid="{4CD5E42A-3333-564C-9B7A-6808D13B3660}"/>
    </a:ext>
  </a:extLst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  <wetp:taskpane dockstate="right" visibility="0" width="350" row="2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7723C3FA-BF32-4994-B389-463905362F4C}">
  <we:reference id="461d4cc1-a871-4735-92bd-d6d2a3159a12" version="1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662DE3E4-E91C-4B61-ABAE-77C511B53014}">
  <we:reference id="57db97c6-56e5-4674-9af2-c47f9e909233" version="1.0.0.1" store="EXCatalog" storeType="EXCatalog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4AB3C44804DE4742ADE8A7F6603FF669" ma:contentTypeVersion="6" ma:contentTypeDescription="Opprett et nytt dokument." ma:contentTypeScope="" ma:versionID="273315a691253c7fb3e9bbfcc7bfa46d">
  <xsd:schema xmlns:xsd="http://www.w3.org/2001/XMLSchema" xmlns:xs="http://www.w3.org/2001/XMLSchema" xmlns:p="http://schemas.microsoft.com/office/2006/metadata/properties" xmlns:ns2="918fe010-06eb-48ac-ab3e-c82bd9347bed" xmlns:ns3="0445c1d5-0631-4548-b6d0-84c962c7aa65" targetNamespace="http://schemas.microsoft.com/office/2006/metadata/properties" ma:root="true" ma:fieldsID="53e2335368e633f0e5acf3975ce19aea" ns2:_="" ns3:_="">
    <xsd:import namespace="918fe010-06eb-48ac-ab3e-c82bd9347bed"/>
    <xsd:import namespace="0445c1d5-0631-4548-b6d0-84c962c7aa6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8fe010-06eb-48ac-ab3e-c82bd9347be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3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45c1d5-0631-4548-b6d0-84c962c7aa65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B65030F-6420-4331-8591-DD844C2507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B5984A70-CE3F-450A-BA29-C6D3362B0474}">
  <ds:schemaRefs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918fe010-06eb-48ac-ab3e-c82bd9347bed"/>
    <ds:schemaRef ds:uri="http://purl.org/dc/elements/1.1/"/>
    <ds:schemaRef ds:uri="http://www.w3.org/XML/1998/namespace"/>
    <ds:schemaRef ds:uri="http://schemas.microsoft.com/office/infopath/2007/PartnerControls"/>
    <ds:schemaRef ds:uri="0445c1d5-0631-4548-b6d0-84c962c7aa65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7FDF37D-2FA7-4253-A867-A7AF7548590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8fe010-06eb-48ac-ab3e-c82bd9347bed"/>
    <ds:schemaRef ds:uri="0445c1d5-0631-4548-b6d0-84c962c7aa6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1</TotalTime>
  <Words>635</Words>
  <Application>Microsoft Office PowerPoint</Application>
  <PresentationFormat>Egendefinert</PresentationFormat>
  <Paragraphs>135</Paragraphs>
  <Slides>18</Slides>
  <Notes>10</Notes>
  <HiddenSlides>0</HiddenSlides>
  <MMClips>0</MMClips>
  <ScaleCrop>false</ScaleCrop>
  <HeadingPairs>
    <vt:vector size="8" baseType="variant">
      <vt:variant>
        <vt:lpstr>Brukte skrifter</vt:lpstr>
      </vt:variant>
      <vt:variant>
        <vt:i4>7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9" baseType="lpstr">
      <vt:lpstr>Aptos</vt:lpstr>
      <vt:lpstr>Arial</vt:lpstr>
      <vt:lpstr>Beausite Classic Clear</vt:lpstr>
      <vt:lpstr>Calibri</vt:lpstr>
      <vt:lpstr>Courier New</vt:lpstr>
      <vt:lpstr>EB Garamond</vt:lpstr>
      <vt:lpstr>Wingdings</vt:lpstr>
      <vt:lpstr>Office-tema</vt:lpstr>
      <vt:lpstr>1_Avinor-Format-16-9</vt:lpstr>
      <vt:lpstr>1 Chapters</vt:lpstr>
      <vt:lpstr>think-cell Slide</vt:lpstr>
      <vt:lpstr>Internasjonalt reiseliv, sommer og posisjonering…</vt:lpstr>
      <vt:lpstr>Program for dagen</vt:lpstr>
      <vt:lpstr>PowerPoint-presentasjon</vt:lpstr>
      <vt:lpstr>Hva rører seg i Visit Røros og Østerdalen?</vt:lpstr>
      <vt:lpstr>Fordeling partnere pr kommune</vt:lpstr>
      <vt:lpstr>Fordeling partnere fordelt på bransje</vt:lpstr>
      <vt:lpstr>Markeder  Hvilke markeder markedsfører vi oss mot og selger   til?</vt:lpstr>
      <vt:lpstr>Nasjonalt</vt:lpstr>
      <vt:lpstr>Internasjonalt</vt:lpstr>
      <vt:lpstr>Reiseliv som eksportnæring, og trender i reiselivet fremover</vt:lpstr>
      <vt:lpstr>Workshop</vt:lpstr>
      <vt:lpstr>Overnattingsstatistikk 2023, hele Norge</vt:lpstr>
      <vt:lpstr>Overnattingsstatistikk 2023 Røros og Østerdalen</vt:lpstr>
      <vt:lpstr>Overnattingsstatistikk 2023 utvalgte reisemål med internasjonal vekst</vt:lpstr>
      <vt:lpstr>Oppgave A: Lufthansa – München - Trondheim</vt:lpstr>
      <vt:lpstr>Oppgave B:  Røros og Østerdalen – Det internasjonale markedet vil ha naturopplevelser… </vt:lpstr>
      <vt:lpstr>Lufthansa – München - Trondheim</vt:lpstr>
      <vt:lpstr>PowerPoint-presentasj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Tove Martens</dc:creator>
  <cp:lastModifiedBy>Tove Martens</cp:lastModifiedBy>
  <cp:revision>7</cp:revision>
  <dcterms:created xsi:type="dcterms:W3CDTF">2023-11-07T10:45:25Z</dcterms:created>
  <dcterms:modified xsi:type="dcterms:W3CDTF">2024-05-06T17:44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AB3C44804DE4742ADE8A7F6603FF669</vt:lpwstr>
  </property>
  <property fmtid="{D5CDD505-2E9C-101B-9397-08002B2CF9AE}" pid="3" name="MediaServiceImageTags">
    <vt:lpwstr/>
  </property>
</Properties>
</file>